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0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1.xml" ContentType="application/vnd.openxmlformats-officedocument.them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2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3.xml" ContentType="application/vnd.openxmlformats-officedocument.theme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4.xml" ContentType="application/vnd.openxmlformats-officedocument.them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5.xml" ContentType="application/vnd.openxmlformats-officedocument.them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6.xml" ContentType="application/vnd.openxmlformats-officedocument.them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7.xml" ContentType="application/vnd.openxmlformats-officedocument.theme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8.xml" ContentType="application/vnd.openxmlformats-officedocument.them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9.xml" ContentType="application/vnd.openxmlformats-officedocument.theme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0.xml" ContentType="application/vnd.openxmlformats-officedocument.theme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1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2.xml" ContentType="application/vnd.openxmlformats-officedocument.theme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23.xml" ContentType="application/vnd.openxmlformats-officedocument.theme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24.xml" ContentType="application/vnd.openxmlformats-officedocument.theme+xml"/>
  <Override PartName="/ppt/theme/theme25.xml" ContentType="application/vnd.openxmlformats-officedocument.theme+xml"/>
  <Override PartName="/ppt/theme/theme26.xml" ContentType="application/vnd.openxmlformats-officedocument.theme+xml"/>
  <Override PartName="/ppt/notesSlides/notesSlide1.xml" ContentType="application/vnd.openxmlformats-officedocument.presentationml.notesSlide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9" r:id="rId1"/>
    <p:sldMasterId id="2147483793" r:id="rId2"/>
    <p:sldMasterId id="2147483797" r:id="rId3"/>
    <p:sldMasterId id="2147483813" r:id="rId4"/>
    <p:sldMasterId id="2147483817" r:id="rId5"/>
    <p:sldMasterId id="2147483848" r:id="rId6"/>
    <p:sldMasterId id="2147483852" r:id="rId7"/>
    <p:sldMasterId id="2147483857" r:id="rId8"/>
    <p:sldMasterId id="2147483862" r:id="rId9"/>
    <p:sldMasterId id="2147483870" r:id="rId10"/>
    <p:sldMasterId id="2147483881" r:id="rId11"/>
    <p:sldMasterId id="2147483885" r:id="rId12"/>
    <p:sldMasterId id="2147483893" r:id="rId13"/>
    <p:sldMasterId id="2147483900" r:id="rId14"/>
    <p:sldMasterId id="2147483904" r:id="rId15"/>
    <p:sldMasterId id="2147483908" r:id="rId16"/>
    <p:sldMasterId id="2147483912" r:id="rId17"/>
    <p:sldMasterId id="2147483934" r:id="rId18"/>
    <p:sldMasterId id="2147483938" r:id="rId19"/>
    <p:sldMasterId id="2147483947" r:id="rId20"/>
    <p:sldMasterId id="2147483951" r:id="rId21"/>
    <p:sldMasterId id="2147483965" r:id="rId22"/>
    <p:sldMasterId id="2147483969" r:id="rId23"/>
    <p:sldMasterId id="2147483974" r:id="rId24"/>
  </p:sldMasterIdLst>
  <p:notesMasterIdLst>
    <p:notesMasterId r:id="rId32"/>
  </p:notesMasterIdLst>
  <p:handoutMasterIdLst>
    <p:handoutMasterId r:id="rId33"/>
  </p:handoutMasterIdLst>
  <p:sldIdLst>
    <p:sldId id="256" r:id="rId25"/>
    <p:sldId id="2298" r:id="rId26"/>
    <p:sldId id="2337" r:id="rId27"/>
    <p:sldId id="2339" r:id="rId28"/>
    <p:sldId id="2335" r:id="rId29"/>
    <p:sldId id="2303" r:id="rId30"/>
    <p:sldId id="2334" r:id="rId31"/>
  </p:sldIdLst>
  <p:sldSz cx="12192000" cy="6858000"/>
  <p:notesSz cx="6858000" cy="9313863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8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FFFFFF"/>
    <a:srgbClr val="5C84CC"/>
    <a:srgbClr val="DAE3F3"/>
    <a:srgbClr val="0070C0"/>
    <a:srgbClr val="00B0F0"/>
    <a:srgbClr val="37DEE7"/>
    <a:srgbClr val="00E9EC"/>
    <a:srgbClr val="00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82" autoAdjust="0"/>
    <p:restoredTop sz="81784" autoAdjust="0"/>
  </p:normalViewPr>
  <p:slideViewPr>
    <p:cSldViewPr snapToGrid="0" snapToObjects="1">
      <p:cViewPr varScale="1">
        <p:scale>
          <a:sx n="67" d="100"/>
          <a:sy n="67" d="100"/>
        </p:scale>
        <p:origin x="1339" y="48"/>
      </p:cViewPr>
      <p:guideLst>
        <p:guide orient="horz" pos="512"/>
        <p:guide pos="3840"/>
        <p:guide pos="5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CC86D30-2380-4AFD-851D-4FF2D40D7DE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832DF6-8D80-4EB0-A9E5-A0D19100C7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B17659-9255-486D-89A5-D7F55D823D9C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3BC2C9-134E-42A0-B669-30F6C1F41B5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B775C1-E42C-4576-A86D-3B8886C6D19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0D6355-9367-465C-BD4F-D145546F2F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797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9AFE3F-88DC-5441-BECF-47B52288B3F7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500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82296"/>
            <a:ext cx="5486400" cy="36673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DA4247-9E0B-8747-87B5-09E11D5C2D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2837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549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  <a:latin typeface="Effra" panose="020B0603020203020204" pitchFamily="34" charset="0"/>
              </a:rPr>
              <a:t>Talking Point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latin typeface="Effra" panose="020B0603020203020204" pitchFamily="34" charset="0"/>
              </a:rPr>
              <a:t>Successes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ffra" panose="020B0603020203020204" pitchFamily="34" charset="0"/>
              </a:rPr>
              <a:t>Strongly Engaged and experienced team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ffra" panose="020B0603020203020204" pitchFamily="34" charset="0"/>
              </a:rPr>
              <a:t>FDA (CDRH &amp; ORA) team members are working and collaborating together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ffra" panose="020B0603020203020204" pitchFamily="34" charset="0"/>
              </a:rPr>
              <a:t>Team Alignment on the high level program elements to be included within the pilo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28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996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erify when all the sites need to be appraised by the BAA.  Confirm what was agreed up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 will be updated after the F2F – better understanding of what elements will be requir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56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2426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Talking Point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Objective metrics for product quality are intended to have an indirect impact on patient safety.</a:t>
            </a:r>
          </a:p>
        </p:txBody>
      </p:sp>
    </p:spTree>
    <p:extLst>
      <p:ext uri="{BB962C8B-B14F-4D97-AF65-F5344CB8AC3E}">
        <p14:creationId xmlns:p14="http://schemas.microsoft.com/office/powerpoint/2010/main" val="3763197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493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.jp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8.bin"/><Relationship Id="rId4" Type="http://schemas.openxmlformats.org/officeDocument/2006/relationships/image" Target="../media/image18.jp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9.xml"/><Relationship Id="rId1" Type="http://schemas.openxmlformats.org/officeDocument/2006/relationships/tags" Target="../tags/tag51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519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2" Type="http://schemas.openxmlformats.org/officeDocument/2006/relationships/tags" Target="../tags/tag52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2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30.emf"/><Relationship Id="rId2" Type="http://schemas.openxmlformats.org/officeDocument/2006/relationships/tags" Target="../tags/tag52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4.bin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527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45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18.jp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3.xml"/><Relationship Id="rId1" Type="http://schemas.openxmlformats.org/officeDocument/2006/relationships/tags" Target="../tags/tag54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548.xml"/><Relationship Id="rId2" Type="http://schemas.openxmlformats.org/officeDocument/2006/relationships/tags" Target="../tags/tag547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5.jpeg"/><Relationship Id="rId2" Type="http://schemas.openxmlformats.org/officeDocument/2006/relationships/tags" Target="../tags/tag15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4.xml"/><Relationship Id="rId7" Type="http://schemas.openxmlformats.org/officeDocument/2006/relationships/image" Target="../media/image6.jpeg"/><Relationship Id="rId2" Type="http://schemas.openxmlformats.org/officeDocument/2006/relationships/tags" Target="../tags/tag15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56.xml"/><Relationship Id="rId7" Type="http://schemas.openxmlformats.org/officeDocument/2006/relationships/image" Target="../media/image8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10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12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3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1.xml"/><Relationship Id="rId7" Type="http://schemas.openxmlformats.org/officeDocument/2006/relationships/image" Target="../media/image11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14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11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8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18.jp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18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jp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2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3.jp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10.emf"/><Relationship Id="rId2" Type="http://schemas.openxmlformats.org/officeDocument/2006/relationships/tags" Target="../tags/tag24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23.emf"/><Relationship Id="rId2" Type="http://schemas.openxmlformats.org/officeDocument/2006/relationships/tags" Target="../tags/tag25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0.xml"/><Relationship Id="rId4" Type="http://schemas.openxmlformats.org/officeDocument/2006/relationships/tags" Target="../tags/tag25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0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3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8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18.jp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0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308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image" Target="../media/image3.jp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ags" Target="../tags/tag33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image" Target="../media/image3.jp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7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3.jp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74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18.jp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9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18.jp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6.xml"/><Relationship Id="rId1" Type="http://schemas.openxmlformats.org/officeDocument/2006/relationships/tags" Target="../tags/tag41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5.jpeg"/><Relationship Id="rId2" Type="http://schemas.openxmlformats.org/officeDocument/2006/relationships/tags" Target="../tags/tag43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7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7.xml"/><Relationship Id="rId7" Type="http://schemas.openxmlformats.org/officeDocument/2006/relationships/image" Target="../media/image6.jpeg"/><Relationship Id="rId2" Type="http://schemas.openxmlformats.org/officeDocument/2006/relationships/tags" Target="../tags/tag43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9.jpeg"/><Relationship Id="rId2" Type="http://schemas.openxmlformats.org/officeDocument/2006/relationships/tags" Target="../tags/tag438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2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40.xml"/><Relationship Id="rId7" Type="http://schemas.openxmlformats.org/officeDocument/2006/relationships/image" Target="../media/image10.emf"/><Relationship Id="rId2" Type="http://schemas.openxmlformats.org/officeDocument/2006/relationships/tags" Target="../tags/tag439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4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7" Type="http://schemas.openxmlformats.org/officeDocument/2006/relationships/image" Target="../media/image12.png"/><Relationship Id="rId2" Type="http://schemas.openxmlformats.org/officeDocument/2006/relationships/tags" Target="../tags/tag44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445.xml"/><Relationship Id="rId2" Type="http://schemas.openxmlformats.org/officeDocument/2006/relationships/tags" Target="../tags/tag44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447.xml"/><Relationship Id="rId2" Type="http://schemas.openxmlformats.org/officeDocument/2006/relationships/tags" Target="../tags/tag44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4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4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13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53.xml"/><Relationship Id="rId7" Type="http://schemas.openxmlformats.org/officeDocument/2006/relationships/image" Target="../media/image11.emf"/><Relationship Id="rId2" Type="http://schemas.openxmlformats.org/officeDocument/2006/relationships/tags" Target="../tags/tag452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5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456.xml"/><Relationship Id="rId7" Type="http://schemas.openxmlformats.org/officeDocument/2006/relationships/image" Target="../media/image14.png"/><Relationship Id="rId2" Type="http://schemas.openxmlformats.org/officeDocument/2006/relationships/tags" Target="../tags/tag45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5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7" Type="http://schemas.openxmlformats.org/officeDocument/2006/relationships/image" Target="../media/image11.emf"/><Relationship Id="rId2" Type="http://schemas.openxmlformats.org/officeDocument/2006/relationships/tags" Target="../tags/tag462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17.xml"/><Relationship Id="rId4" Type="http://schemas.openxmlformats.org/officeDocument/2006/relationships/tags" Target="../tags/tag46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3.bin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3.jp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ags" Target="../tags/tag49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11/12/2018 10:54 AM Indi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89366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3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1/21/2018 9:45 AM Eastern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3085966" y="153714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1333552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1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80573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67844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327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88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41459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F4FCC-62D2-4C61-9E4B-AF77B6F25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59182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8FD643-2FEF-4797-A6AE-9EAF4D9C22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187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8FD643-2FEF-4797-A6AE-9EAF4D9C2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74320" y="2743200"/>
            <a:ext cx="5095966" cy="1218795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4400" b="0" i="0">
                <a:solidFill>
                  <a:schemeClr val="tx1"/>
                </a:solidFill>
                <a:latin typeface="Helvetica Neue LT Std 65 Medium" charset="0"/>
                <a:ea typeface="Helvetica Neue LT Std 65 Medium" charset="0"/>
                <a:cs typeface="Helvetica Neue LT Std 65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74320" y="4287088"/>
            <a:ext cx="5095966" cy="112290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Helvetica Neue LT Std 45 Light" charset="0"/>
                <a:ea typeface="Helvetica Neue LT Std 45 Light" charset="0"/>
                <a:cs typeface="Helvetica Neue LT Std 45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23509633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6E97F6-84A9-45F9-B6C4-26E050D54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211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6E97F6-84A9-45F9-B6C4-26E050D54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6A9C66-AD3F-44EF-B601-3430F72601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7C59A5-A921-4323-B972-1EAB016CC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7752766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ctivities &amp; Outco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7"/>
          </p:nvPr>
        </p:nvSpPr>
        <p:spPr>
          <a:xfrm>
            <a:off x="440380" y="992329"/>
            <a:ext cx="5453303" cy="280147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1235">
                <a:solidFill>
                  <a:srgbClr val="0070C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326573" y="1533072"/>
            <a:ext cx="181612" cy="335136"/>
          </a:xfrm>
          <a:prstGeom prst="rect">
            <a:avLst/>
          </a:prstGeom>
          <a:noFill/>
        </p:spPr>
        <p:txBody>
          <a:bodyPr wrap="none" lIns="89896" tIns="44948" rIns="89896" bIns="44948" rtlCol="0">
            <a:spAutoFit/>
          </a:bodyPr>
          <a:lstStyle/>
          <a:p>
            <a:endParaRPr lang="en-US" sz="1588" dirty="0">
              <a:latin typeface="Calibri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36"/>
          </p:nvPr>
        </p:nvSpPr>
        <p:spPr>
          <a:xfrm>
            <a:off x="6190843" y="3089517"/>
            <a:ext cx="6001158" cy="678968"/>
          </a:xfrm>
          <a:prstGeom prst="rect">
            <a:avLst/>
          </a:prstGeom>
        </p:spPr>
        <p:txBody>
          <a:bodyPr vert="horz" anchor="ctr"/>
          <a:lstStyle>
            <a:lvl1pPr algn="ctr">
              <a:defRPr sz="4236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39"/>
          </p:nvPr>
        </p:nvSpPr>
        <p:spPr>
          <a:xfrm>
            <a:off x="439554" y="1465351"/>
            <a:ext cx="5367810" cy="1816564"/>
          </a:xfrm>
          <a:prstGeom prst="rect">
            <a:avLst/>
          </a:prstGeom>
        </p:spPr>
        <p:txBody>
          <a:bodyPr vert="horz">
            <a:noAutofit/>
          </a:bodyPr>
          <a:lstStyle>
            <a:lvl1pPr marL="201717" indent="-201717">
              <a:lnSpc>
                <a:spcPct val="110000"/>
              </a:lnSpc>
              <a:buClr>
                <a:schemeClr val="tx1">
                  <a:lumMod val="95000"/>
                  <a:lumOff val="5000"/>
                </a:schemeClr>
              </a:buClr>
              <a:buFont typeface="+mj-lt"/>
              <a:buAutoNum type="arabicPeriod"/>
              <a:defRPr sz="882">
                <a:solidFill>
                  <a:srgbClr val="5C5C5C"/>
                </a:solidFill>
              </a:defRPr>
            </a:lvl1pPr>
            <a:lvl2pPr marL="403433" indent="-179304">
              <a:lnSpc>
                <a:spcPct val="110000"/>
              </a:lnSpc>
              <a:buClr>
                <a:schemeClr val="tx1">
                  <a:lumMod val="95000"/>
                  <a:lumOff val="5000"/>
                </a:schemeClr>
              </a:buClr>
              <a:defRPr sz="882">
                <a:solidFill>
                  <a:srgbClr val="5C5C5C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1208" y="307077"/>
            <a:ext cx="4998343" cy="437553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1412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771319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E635D8F-DB15-B145-82F4-DD592BC6D7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430" y="5059898"/>
            <a:ext cx="2697820" cy="1178879"/>
          </a:xfrm>
          <a:prstGeom prst="rect">
            <a:avLst/>
          </a:prstGeom>
        </p:spPr>
      </p:pic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E1562908-4545-584B-91A6-3C9BE8AE72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125" y="3495022"/>
            <a:ext cx="11385168" cy="92471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32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Presenter Name(s)</a:t>
            </a:r>
          </a:p>
        </p:txBody>
      </p:sp>
      <p:sp>
        <p:nvSpPr>
          <p:cNvPr id="22" name="Text Placeholder 17">
            <a:extLst>
              <a:ext uri="{FF2B5EF4-FFF2-40B4-BE49-F238E27FC236}">
                <a16:creationId xmlns:a16="http://schemas.microsoft.com/office/drawing/2014/main" id="{24691CE8-AFBA-C94A-B13E-7A7BA493203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3125" y="4422831"/>
            <a:ext cx="11385168" cy="48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133" b="0" spc="-4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ATE (Month DD, YYYY)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96C2E48-4A12-AC4A-9C08-6E63590BCA83}"/>
              </a:ext>
            </a:extLst>
          </p:cNvPr>
          <p:cNvGrpSpPr/>
          <p:nvPr userDrawn="1"/>
        </p:nvGrpSpPr>
        <p:grpSpPr>
          <a:xfrm>
            <a:off x="-18457" y="4"/>
            <a:ext cx="12210457" cy="3513129"/>
            <a:chOff x="-13843" y="0"/>
            <a:chExt cx="9157843" cy="2634846"/>
          </a:xfrm>
        </p:grpSpPr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7121C7EE-76E3-5544-A1F4-F7897190FEE9}"/>
                </a:ext>
              </a:extLst>
            </p:cNvPr>
            <p:cNvSpPr/>
            <p:nvPr userDrawn="1"/>
          </p:nvSpPr>
          <p:spPr>
            <a:xfrm>
              <a:off x="-6970" y="0"/>
              <a:ext cx="9144096" cy="157302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60D2EAB3-F1AE-544E-BA76-457426AA1478}"/>
                </a:ext>
              </a:extLst>
            </p:cNvPr>
            <p:cNvSpPr/>
            <p:nvPr userDrawn="1"/>
          </p:nvSpPr>
          <p:spPr>
            <a:xfrm flipH="1">
              <a:off x="2194" y="0"/>
              <a:ext cx="9141805" cy="1399995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 dirty="0"/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58585E10-677E-5E43-B79E-31384590CDE3}"/>
                </a:ext>
              </a:extLst>
            </p:cNvPr>
            <p:cNvSpPr/>
            <p:nvPr userDrawn="1"/>
          </p:nvSpPr>
          <p:spPr>
            <a:xfrm>
              <a:off x="3127364" y="0"/>
              <a:ext cx="6016636" cy="131111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 dirty="0"/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4EBBB98-B9D4-1442-BF16-1754187A96B2}"/>
                </a:ext>
              </a:extLst>
            </p:cNvPr>
            <p:cNvCxnSpPr/>
            <p:nvPr userDrawn="1"/>
          </p:nvCxnSpPr>
          <p:spPr>
            <a:xfrm flipH="1" flipV="1">
              <a:off x="77804" y="448336"/>
              <a:ext cx="7193157" cy="2076398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93507F0A-37EA-8545-9E84-DFA9C30900A5}"/>
                </a:ext>
              </a:extLst>
            </p:cNvPr>
            <p:cNvCxnSpPr/>
            <p:nvPr userDrawn="1"/>
          </p:nvCxnSpPr>
          <p:spPr>
            <a:xfrm flipH="1" flipV="1">
              <a:off x="-13843" y="448336"/>
              <a:ext cx="6240026" cy="218651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4">
            <a:extLst>
              <a:ext uri="{FF2B5EF4-FFF2-40B4-BE49-F238E27FC236}">
                <a16:creationId xmlns:a16="http://schemas.microsoft.com/office/drawing/2014/main" id="{FE1411D8-6EE9-6540-A0A6-99FD56B2FF2D}"/>
              </a:ext>
            </a:extLst>
          </p:cNvPr>
          <p:cNvSpPr/>
          <p:nvPr userDrawn="1"/>
        </p:nvSpPr>
        <p:spPr>
          <a:xfrm flipV="1">
            <a:off x="-11596" y="5796154"/>
            <a:ext cx="12200571" cy="1067945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6783 w 4445636"/>
              <a:gd name="connsiteY3" fmla="*/ 181998 h 817247"/>
              <a:gd name="connsiteX4" fmla="*/ 0 w 4445636"/>
              <a:gd name="connsiteY4" fmla="*/ 0 h 817247"/>
              <a:gd name="connsiteX0" fmla="*/ 12569 w 4458205"/>
              <a:gd name="connsiteY0" fmla="*/ 0 h 817247"/>
              <a:gd name="connsiteX1" fmla="*/ 4458205 w 4458205"/>
              <a:gd name="connsiteY1" fmla="*/ 0 h 817247"/>
              <a:gd name="connsiteX2" fmla="*/ 4458205 w 4458205"/>
              <a:gd name="connsiteY2" fmla="*/ 817247 h 817247"/>
              <a:gd name="connsiteX3" fmla="*/ 0 w 4458205"/>
              <a:gd name="connsiteY3" fmla="*/ 173172 h 817247"/>
              <a:gd name="connsiteX4" fmla="*/ 12569 w 4458205"/>
              <a:gd name="connsiteY4" fmla="*/ 0 h 817247"/>
              <a:gd name="connsiteX0" fmla="*/ 0 w 4469826"/>
              <a:gd name="connsiteY0" fmla="*/ 0 h 826074"/>
              <a:gd name="connsiteX1" fmla="*/ 4469826 w 4469826"/>
              <a:gd name="connsiteY1" fmla="*/ 8827 h 826074"/>
              <a:gd name="connsiteX2" fmla="*/ 4469826 w 4469826"/>
              <a:gd name="connsiteY2" fmla="*/ 826074 h 826074"/>
              <a:gd name="connsiteX3" fmla="*/ 11621 w 4469826"/>
              <a:gd name="connsiteY3" fmla="*/ 181999 h 826074"/>
              <a:gd name="connsiteX4" fmla="*/ 0 w 4469826"/>
              <a:gd name="connsiteY4" fmla="*/ 0 h 826074"/>
              <a:gd name="connsiteX0" fmla="*/ 0 w 4469826"/>
              <a:gd name="connsiteY0" fmla="*/ 0 h 720152"/>
              <a:gd name="connsiteX1" fmla="*/ 4469826 w 4469826"/>
              <a:gd name="connsiteY1" fmla="*/ 8827 h 720152"/>
              <a:gd name="connsiteX2" fmla="*/ 4469826 w 4469826"/>
              <a:gd name="connsiteY2" fmla="*/ 720152 h 720152"/>
              <a:gd name="connsiteX3" fmla="*/ 11621 w 4469826"/>
              <a:gd name="connsiteY3" fmla="*/ 181999 h 720152"/>
              <a:gd name="connsiteX4" fmla="*/ 0 w 4469826"/>
              <a:gd name="connsiteY4" fmla="*/ 0 h 720152"/>
              <a:gd name="connsiteX0" fmla="*/ 1394 w 4458205"/>
              <a:gd name="connsiteY0" fmla="*/ 0 h 739147"/>
              <a:gd name="connsiteX1" fmla="*/ 4458205 w 4458205"/>
              <a:gd name="connsiteY1" fmla="*/ 27822 h 739147"/>
              <a:gd name="connsiteX2" fmla="*/ 4458205 w 4458205"/>
              <a:gd name="connsiteY2" fmla="*/ 739147 h 739147"/>
              <a:gd name="connsiteX3" fmla="*/ 0 w 4458205"/>
              <a:gd name="connsiteY3" fmla="*/ 200994 h 739147"/>
              <a:gd name="connsiteX4" fmla="*/ 1394 w 4458205"/>
              <a:gd name="connsiteY4" fmla="*/ 0 h 739147"/>
              <a:gd name="connsiteX0" fmla="*/ 22 w 4456833"/>
              <a:gd name="connsiteY0" fmla="*/ 0 h 739147"/>
              <a:gd name="connsiteX1" fmla="*/ 4456833 w 4456833"/>
              <a:gd name="connsiteY1" fmla="*/ 27822 h 739147"/>
              <a:gd name="connsiteX2" fmla="*/ 4456833 w 4456833"/>
              <a:gd name="connsiteY2" fmla="*/ 739147 h 739147"/>
              <a:gd name="connsiteX3" fmla="*/ 6437 w 4456833"/>
              <a:gd name="connsiteY3" fmla="*/ 191496 h 739147"/>
              <a:gd name="connsiteX4" fmla="*/ 22 w 4456833"/>
              <a:gd name="connsiteY4" fmla="*/ 0 h 739147"/>
              <a:gd name="connsiteX0" fmla="*/ 3997 w 4450396"/>
              <a:gd name="connsiteY0" fmla="*/ 0 h 739147"/>
              <a:gd name="connsiteX1" fmla="*/ 4450396 w 4450396"/>
              <a:gd name="connsiteY1" fmla="*/ 27822 h 739147"/>
              <a:gd name="connsiteX2" fmla="*/ 4450396 w 4450396"/>
              <a:gd name="connsiteY2" fmla="*/ 739147 h 739147"/>
              <a:gd name="connsiteX3" fmla="*/ 0 w 4450396"/>
              <a:gd name="connsiteY3" fmla="*/ 191496 h 739147"/>
              <a:gd name="connsiteX4" fmla="*/ 3997 w 4450396"/>
              <a:gd name="connsiteY4" fmla="*/ 0 h 739147"/>
              <a:gd name="connsiteX0" fmla="*/ 92498 w 4450396"/>
              <a:gd name="connsiteY0" fmla="*/ 105148 h 711325"/>
              <a:gd name="connsiteX1" fmla="*/ 4450396 w 4450396"/>
              <a:gd name="connsiteY1" fmla="*/ 0 h 711325"/>
              <a:gd name="connsiteX2" fmla="*/ 4450396 w 4450396"/>
              <a:gd name="connsiteY2" fmla="*/ 711325 h 711325"/>
              <a:gd name="connsiteX3" fmla="*/ 0 w 4450396"/>
              <a:gd name="connsiteY3" fmla="*/ 163674 h 711325"/>
              <a:gd name="connsiteX4" fmla="*/ 92498 w 4450396"/>
              <a:gd name="connsiteY4" fmla="*/ 105148 h 711325"/>
              <a:gd name="connsiteX0" fmla="*/ 21 w 4456832"/>
              <a:gd name="connsiteY0" fmla="*/ 5420 h 711325"/>
              <a:gd name="connsiteX1" fmla="*/ 4456832 w 4456832"/>
              <a:gd name="connsiteY1" fmla="*/ 0 h 711325"/>
              <a:gd name="connsiteX2" fmla="*/ 4456832 w 4456832"/>
              <a:gd name="connsiteY2" fmla="*/ 711325 h 711325"/>
              <a:gd name="connsiteX3" fmla="*/ 6436 w 4456832"/>
              <a:gd name="connsiteY3" fmla="*/ 163674 h 711325"/>
              <a:gd name="connsiteX4" fmla="*/ 21 w 4456832"/>
              <a:gd name="connsiteY4" fmla="*/ 5420 h 711325"/>
              <a:gd name="connsiteX0" fmla="*/ 0 w 4456811"/>
              <a:gd name="connsiteY0" fmla="*/ 5420 h 711325"/>
              <a:gd name="connsiteX1" fmla="*/ 4456811 w 4456811"/>
              <a:gd name="connsiteY1" fmla="*/ 0 h 711325"/>
              <a:gd name="connsiteX2" fmla="*/ 4456811 w 4456811"/>
              <a:gd name="connsiteY2" fmla="*/ 711325 h 711325"/>
              <a:gd name="connsiteX3" fmla="*/ 6415 w 4456811"/>
              <a:gd name="connsiteY3" fmla="*/ 163674 h 711325"/>
              <a:gd name="connsiteX4" fmla="*/ 0 w 4456811"/>
              <a:gd name="connsiteY4" fmla="*/ 5420 h 711325"/>
              <a:gd name="connsiteX0" fmla="*/ 0 w 4454208"/>
              <a:gd name="connsiteY0" fmla="*/ 5420 h 711325"/>
              <a:gd name="connsiteX1" fmla="*/ 4454208 w 4454208"/>
              <a:gd name="connsiteY1" fmla="*/ 0 h 711325"/>
              <a:gd name="connsiteX2" fmla="*/ 4454208 w 4454208"/>
              <a:gd name="connsiteY2" fmla="*/ 711325 h 711325"/>
              <a:gd name="connsiteX3" fmla="*/ 3812 w 4454208"/>
              <a:gd name="connsiteY3" fmla="*/ 163674 h 711325"/>
              <a:gd name="connsiteX4" fmla="*/ 0 w 4454208"/>
              <a:gd name="connsiteY4" fmla="*/ 5420 h 711325"/>
              <a:gd name="connsiteX0" fmla="*/ 0 w 4454208"/>
              <a:gd name="connsiteY0" fmla="*/ 5420 h 711325"/>
              <a:gd name="connsiteX1" fmla="*/ 4454208 w 4454208"/>
              <a:gd name="connsiteY1" fmla="*/ 0 h 711325"/>
              <a:gd name="connsiteX2" fmla="*/ 4454208 w 4454208"/>
              <a:gd name="connsiteY2" fmla="*/ 711325 h 711325"/>
              <a:gd name="connsiteX3" fmla="*/ 1209 w 4454208"/>
              <a:gd name="connsiteY3" fmla="*/ 158926 h 711325"/>
              <a:gd name="connsiteX4" fmla="*/ 0 w 4454208"/>
              <a:gd name="connsiteY4" fmla="*/ 5420 h 711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4208" h="711325">
                <a:moveTo>
                  <a:pt x="0" y="5420"/>
                </a:moveTo>
                <a:lnTo>
                  <a:pt x="4454208" y="0"/>
                </a:lnTo>
                <a:lnTo>
                  <a:pt x="4454208" y="711325"/>
                </a:lnTo>
                <a:lnTo>
                  <a:pt x="1209" y="158926"/>
                </a:lnTo>
                <a:cubicBezTo>
                  <a:pt x="1674" y="91928"/>
                  <a:pt x="3207" y="84547"/>
                  <a:pt x="0" y="5420"/>
                </a:cubicBezTo>
                <a:close/>
              </a:path>
            </a:pathLst>
          </a:custGeom>
          <a:solidFill>
            <a:schemeClr val="accent3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1" name="Title Placeholder 1">
            <a:extLst>
              <a:ext uri="{FF2B5EF4-FFF2-40B4-BE49-F238E27FC236}">
                <a16:creationId xmlns:a16="http://schemas.microsoft.com/office/drawing/2014/main" id="{48A7D14F-7079-8A4D-9BA7-7AF6C20D53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125" y="1992991"/>
            <a:ext cx="11395467" cy="14282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5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resentation Title - First line</a:t>
            </a:r>
            <a:br>
              <a:rPr lang="en-US" dirty="0"/>
            </a:br>
            <a:r>
              <a:rPr lang="en-US" dirty="0"/>
              <a:t>Title - Second Line</a:t>
            </a:r>
          </a:p>
        </p:txBody>
      </p:sp>
    </p:spTree>
    <p:extLst>
      <p:ext uri="{BB962C8B-B14F-4D97-AF65-F5344CB8AC3E}">
        <p14:creationId xmlns:p14="http://schemas.microsoft.com/office/powerpoint/2010/main" val="3893513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9FF413F-7E5D-844F-BD7A-F8F05041158F}"/>
              </a:ext>
            </a:extLst>
          </p:cNvPr>
          <p:cNvSpPr/>
          <p:nvPr userDrawn="1"/>
        </p:nvSpPr>
        <p:spPr>
          <a:xfrm>
            <a:off x="12217" y="0"/>
            <a:ext cx="12192000" cy="68640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AD2FDC4D-6BA1-F049-B34B-F3813AFF5AE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2597" y="3992549"/>
            <a:ext cx="9646187" cy="12954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Subtitle or Presenter Nam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3C452F6-3120-6A40-BB6F-5C2A7D5839F7}"/>
              </a:ext>
            </a:extLst>
          </p:cNvPr>
          <p:cNvGrpSpPr/>
          <p:nvPr userDrawn="1"/>
        </p:nvGrpSpPr>
        <p:grpSpPr>
          <a:xfrm>
            <a:off x="-18457" y="4"/>
            <a:ext cx="12210457" cy="3513129"/>
            <a:chOff x="-13843" y="0"/>
            <a:chExt cx="9157843" cy="2634846"/>
          </a:xfrm>
        </p:grpSpPr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331A7F50-FEF0-944F-B528-EAEA00A87E30}"/>
                </a:ext>
              </a:extLst>
            </p:cNvPr>
            <p:cNvSpPr/>
            <p:nvPr userDrawn="1"/>
          </p:nvSpPr>
          <p:spPr>
            <a:xfrm>
              <a:off x="-6970" y="0"/>
              <a:ext cx="9144096" cy="157302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E6A3D17E-0C7F-E447-B529-DF8C745A9511}"/>
                </a:ext>
              </a:extLst>
            </p:cNvPr>
            <p:cNvSpPr/>
            <p:nvPr userDrawn="1"/>
          </p:nvSpPr>
          <p:spPr>
            <a:xfrm flipH="1">
              <a:off x="2194" y="0"/>
              <a:ext cx="9141805" cy="1399995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 dirty="0"/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0C5E8179-B891-D44F-A14F-CE1A4982BF2B}"/>
                </a:ext>
              </a:extLst>
            </p:cNvPr>
            <p:cNvSpPr/>
            <p:nvPr userDrawn="1"/>
          </p:nvSpPr>
          <p:spPr>
            <a:xfrm>
              <a:off x="3127364" y="0"/>
              <a:ext cx="6016636" cy="131111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4EB482D-F19B-0E45-A6A0-5FEFA68E526C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0" y="448336"/>
              <a:ext cx="7270962" cy="2076399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5CE5081-8D92-3E42-A855-A3A21A888958}"/>
                </a:ext>
              </a:extLst>
            </p:cNvPr>
            <p:cNvCxnSpPr/>
            <p:nvPr userDrawn="1"/>
          </p:nvCxnSpPr>
          <p:spPr>
            <a:xfrm flipH="1" flipV="1">
              <a:off x="-13843" y="448336"/>
              <a:ext cx="6240026" cy="218651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4">
            <a:extLst>
              <a:ext uri="{FF2B5EF4-FFF2-40B4-BE49-F238E27FC236}">
                <a16:creationId xmlns:a16="http://schemas.microsoft.com/office/drawing/2014/main" id="{D7F0FB5C-D175-2D47-8590-7537D1182BAD}"/>
              </a:ext>
            </a:extLst>
          </p:cNvPr>
          <p:cNvSpPr/>
          <p:nvPr userDrawn="1"/>
        </p:nvSpPr>
        <p:spPr>
          <a:xfrm flipV="1">
            <a:off x="0" y="4956097"/>
            <a:ext cx="12192000" cy="1892615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8" name="Rectangle 4">
            <a:extLst>
              <a:ext uri="{FF2B5EF4-FFF2-40B4-BE49-F238E27FC236}">
                <a16:creationId xmlns:a16="http://schemas.microsoft.com/office/drawing/2014/main" id="{CD52C927-DC3E-494F-BAFA-254DD245D8A5}"/>
              </a:ext>
            </a:extLst>
          </p:cNvPr>
          <p:cNvSpPr/>
          <p:nvPr userDrawn="1"/>
        </p:nvSpPr>
        <p:spPr>
          <a:xfrm flipH="1" flipV="1">
            <a:off x="0" y="4897295"/>
            <a:ext cx="12192000" cy="1951423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8E0D13E9-6FDD-AB45-8FFF-9F5293EDC92D}"/>
              </a:ext>
            </a:extLst>
          </p:cNvPr>
          <p:cNvSpPr/>
          <p:nvPr userDrawn="1"/>
        </p:nvSpPr>
        <p:spPr>
          <a:xfrm flipV="1">
            <a:off x="4229759" y="5028898"/>
            <a:ext cx="7962247" cy="181982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rgbClr val="73C0D3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3121FBD1-1846-F14E-BE81-2CAD69431C6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73221" y="2050453"/>
            <a:ext cx="9645569" cy="1869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2800" b="1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Welcome</a:t>
            </a:r>
          </a:p>
        </p:txBody>
      </p:sp>
    </p:spTree>
    <p:extLst>
      <p:ext uri="{BB962C8B-B14F-4D97-AF65-F5344CB8AC3E}">
        <p14:creationId xmlns:p14="http://schemas.microsoft.com/office/powerpoint/2010/main" val="41762306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95421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98CD71-169E-6C46-961D-25CEC41E4CD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48812" y="2425374"/>
            <a:ext cx="10475539" cy="65470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733" b="1">
                <a:solidFill>
                  <a:schemeClr val="accent5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Subheading Goes Here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90A8DDC-2CAA-6042-A76B-2248840174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8817" y="3080077"/>
            <a:ext cx="10504988" cy="25874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C0E03C6-5137-084D-9637-5A8ADB4D3E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22" name="Flowchart: Off-page Connector 9">
            <a:extLst>
              <a:ext uri="{FF2B5EF4-FFF2-40B4-BE49-F238E27FC236}">
                <a16:creationId xmlns:a16="http://schemas.microsoft.com/office/drawing/2014/main" id="{5A2F4B3C-D31B-994F-917B-0CF81AE27FDF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8AF18F9-64E5-6E4F-ADBF-75A676B1102C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4DDBE4D-21C5-E048-9E97-C386D2DF9DB4}"/>
                </a:ext>
              </a:extLst>
            </p:cNvPr>
            <p:cNvCxnSpPr>
              <a:cxnSpLocks/>
              <a:endCxn id="26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65B8EFDE-20FB-444A-B21F-3A517893A994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D649DBAB-C367-B94A-B748-7050156B8626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59648766-AC01-224F-B850-690C20FA0E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40663"/>
            <a:ext cx="10515600" cy="118471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4800" b="1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862037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ith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7D4C3611-BEB4-2D45-8C2C-1CD908CC239A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20" name="Rectangle 4">
              <a:extLst>
                <a:ext uri="{FF2B5EF4-FFF2-40B4-BE49-F238E27FC236}">
                  <a16:creationId xmlns:a16="http://schemas.microsoft.com/office/drawing/2014/main" id="{D5B85C5C-F169-9A45-8C03-EDDF7BADAFCE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22BB90F-A0E0-234E-98CE-2967A95E7C21}"/>
                </a:ext>
              </a:extLst>
            </p:cNvPr>
            <p:cNvCxnSpPr>
              <a:cxnSpLocks/>
              <a:endCxn id="22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4">
              <a:extLst>
                <a:ext uri="{FF2B5EF4-FFF2-40B4-BE49-F238E27FC236}">
                  <a16:creationId xmlns:a16="http://schemas.microsoft.com/office/drawing/2014/main" id="{E9D3BAB0-7AC4-DB44-A3FA-74CCAAB33E15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5D3C332-B095-C449-95A5-F60EA9B5DF2F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838205" y="2222799"/>
            <a:ext cx="10486151" cy="344469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3733" b="0">
                <a:solidFill>
                  <a:schemeClr val="tx2"/>
                </a:solidFill>
                <a:latin typeface="+mn-lt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AFAFD80-DBF5-F14D-9786-2A3B351743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40662"/>
            <a:ext cx="10515600" cy="982137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4800" b="1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EE95112-FC47-4441-94DD-855A8431B8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26" name="Flowchart: Off-page Connector 9">
            <a:extLst>
              <a:ext uri="{FF2B5EF4-FFF2-40B4-BE49-F238E27FC236}">
                <a16:creationId xmlns:a16="http://schemas.microsoft.com/office/drawing/2014/main" id="{1AB9D9B7-0EB1-334C-A953-03122372D0C8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7039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Med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94AB73EF-1BED-A045-8476-942A20C0D47B}"/>
              </a:ext>
            </a:extLst>
          </p:cNvPr>
          <p:cNvSpPr/>
          <p:nvPr userDrawn="1"/>
        </p:nvSpPr>
        <p:spPr>
          <a:xfrm>
            <a:off x="-1" y="1"/>
            <a:ext cx="12192000" cy="686409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06123AB-E4EB-954E-8F40-7CA487E96FC9}"/>
              </a:ext>
            </a:extLst>
          </p:cNvPr>
          <p:cNvGrpSpPr/>
          <p:nvPr userDrawn="1"/>
        </p:nvGrpSpPr>
        <p:grpSpPr>
          <a:xfrm>
            <a:off x="-18457" y="4"/>
            <a:ext cx="12210457" cy="3513129"/>
            <a:chOff x="-13843" y="0"/>
            <a:chExt cx="9157843" cy="2634846"/>
          </a:xfrm>
        </p:grpSpPr>
        <p:sp>
          <p:nvSpPr>
            <p:cNvPr id="30" name="Rectangle 4">
              <a:extLst>
                <a:ext uri="{FF2B5EF4-FFF2-40B4-BE49-F238E27FC236}">
                  <a16:creationId xmlns:a16="http://schemas.microsoft.com/office/drawing/2014/main" id="{A52323DB-699E-E340-8EB4-934B87927BA6}"/>
                </a:ext>
              </a:extLst>
            </p:cNvPr>
            <p:cNvSpPr/>
            <p:nvPr userDrawn="1"/>
          </p:nvSpPr>
          <p:spPr>
            <a:xfrm>
              <a:off x="-6970" y="0"/>
              <a:ext cx="9144096" cy="157302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31" name="Rectangle 4">
              <a:extLst>
                <a:ext uri="{FF2B5EF4-FFF2-40B4-BE49-F238E27FC236}">
                  <a16:creationId xmlns:a16="http://schemas.microsoft.com/office/drawing/2014/main" id="{AA2202C8-4F24-7346-95C2-5F1C53DF64E2}"/>
                </a:ext>
              </a:extLst>
            </p:cNvPr>
            <p:cNvSpPr/>
            <p:nvPr userDrawn="1"/>
          </p:nvSpPr>
          <p:spPr>
            <a:xfrm flipH="1">
              <a:off x="2194" y="0"/>
              <a:ext cx="9141805" cy="1399995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 dirty="0"/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D1B0C863-117F-1E48-960B-48451FD06BA0}"/>
                </a:ext>
              </a:extLst>
            </p:cNvPr>
            <p:cNvSpPr/>
            <p:nvPr userDrawn="1"/>
          </p:nvSpPr>
          <p:spPr>
            <a:xfrm>
              <a:off x="3127364" y="0"/>
              <a:ext cx="6016636" cy="1311119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967FEBA-E8F2-0943-AB5C-147DE1E99612}"/>
                </a:ext>
              </a:extLst>
            </p:cNvPr>
            <p:cNvCxnSpPr/>
            <p:nvPr userDrawn="1"/>
          </p:nvCxnSpPr>
          <p:spPr>
            <a:xfrm flipH="1" flipV="1">
              <a:off x="77804" y="448336"/>
              <a:ext cx="7193157" cy="2076398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8BC12FC7-1D1C-4D43-B891-2EDB115C7623}"/>
                </a:ext>
              </a:extLst>
            </p:cNvPr>
            <p:cNvCxnSpPr/>
            <p:nvPr userDrawn="1"/>
          </p:nvCxnSpPr>
          <p:spPr>
            <a:xfrm flipH="1" flipV="1">
              <a:off x="-13843" y="448336"/>
              <a:ext cx="6240026" cy="218651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4">
            <a:extLst>
              <a:ext uri="{FF2B5EF4-FFF2-40B4-BE49-F238E27FC236}">
                <a16:creationId xmlns:a16="http://schemas.microsoft.com/office/drawing/2014/main" id="{72D5C8E6-05CB-5547-806E-AACD9EC49DE5}"/>
              </a:ext>
            </a:extLst>
          </p:cNvPr>
          <p:cNvSpPr/>
          <p:nvPr userDrawn="1"/>
        </p:nvSpPr>
        <p:spPr>
          <a:xfrm flipV="1">
            <a:off x="0" y="4971478"/>
            <a:ext cx="12192000" cy="1892615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6" name="Rectangle 4">
            <a:extLst>
              <a:ext uri="{FF2B5EF4-FFF2-40B4-BE49-F238E27FC236}">
                <a16:creationId xmlns:a16="http://schemas.microsoft.com/office/drawing/2014/main" id="{BD513EA0-DB7B-AE46-A175-8A8C54B81088}"/>
              </a:ext>
            </a:extLst>
          </p:cNvPr>
          <p:cNvSpPr/>
          <p:nvPr userDrawn="1"/>
        </p:nvSpPr>
        <p:spPr>
          <a:xfrm flipH="1" flipV="1">
            <a:off x="0" y="4912677"/>
            <a:ext cx="12192000" cy="1951423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97F0DADA-4A3E-7347-8EBF-6452751522C1}"/>
              </a:ext>
            </a:extLst>
          </p:cNvPr>
          <p:cNvSpPr/>
          <p:nvPr userDrawn="1"/>
        </p:nvSpPr>
        <p:spPr>
          <a:xfrm flipV="1">
            <a:off x="4229759" y="5044279"/>
            <a:ext cx="7962247" cy="181982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rgbClr val="73C0D3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B388E4C6-917D-024A-B306-972DA05354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2597" y="3966489"/>
            <a:ext cx="9646187" cy="946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Section Subtitle or Presenter Name </a:t>
            </a:r>
          </a:p>
        </p:txBody>
      </p:sp>
      <p:sp>
        <p:nvSpPr>
          <p:cNvPr id="39" name="Content Placeholder 10">
            <a:extLst>
              <a:ext uri="{FF2B5EF4-FFF2-40B4-BE49-F238E27FC236}">
                <a16:creationId xmlns:a16="http://schemas.microsoft.com/office/drawing/2014/main" id="{B4020A0A-508D-1041-BB39-0E00BC128CB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73221" y="1925468"/>
            <a:ext cx="9645569" cy="20350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10850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0AABAD3C-7882-EE4C-9E7D-BFA4B8BFB9CE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A2F116D0-8320-9844-8CE6-36FDE8E7662D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484EA26-C93D-D34B-BB6E-C1C8397BA80F}"/>
                </a:ext>
              </a:extLst>
            </p:cNvPr>
            <p:cNvCxnSpPr>
              <a:cxnSpLocks/>
              <a:endCxn id="23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7F34E7CB-26FE-D74E-AFC5-1815E6E697DF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E74E987-D5A3-9A41-B9E5-434A01999E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434167"/>
            <a:ext cx="5181600" cy="32333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+mn-lt"/>
              </a:defRPr>
            </a:lvl2pPr>
            <a:lvl3pPr>
              <a:defRPr b="0">
                <a:solidFill>
                  <a:schemeClr val="tx1"/>
                </a:solidFill>
                <a:latin typeface="+mn-lt"/>
              </a:defRPr>
            </a:lvl3pPr>
            <a:lvl4pPr>
              <a:defRPr b="0"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56B2A228-66A0-5F4E-B9FF-0959A34628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434167"/>
            <a:ext cx="5181600" cy="32333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b="0">
                <a:solidFill>
                  <a:schemeClr val="tx1"/>
                </a:solidFill>
                <a:latin typeface="+mn-lt"/>
              </a:defRPr>
            </a:lvl2pPr>
            <a:lvl3pPr>
              <a:defRPr b="0">
                <a:solidFill>
                  <a:schemeClr val="tx1"/>
                </a:solidFill>
                <a:latin typeface="+mn-lt"/>
              </a:defRPr>
            </a:lvl3pPr>
            <a:lvl4pPr>
              <a:defRPr b="0"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3D25EA9-791E-E74E-92B2-8CD1DA6D9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40663"/>
            <a:ext cx="10515600" cy="113726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4800" b="1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A9C6C53-D909-0F42-ADF7-DC75A9220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29" name="Flowchart: Off-page Connector 9">
            <a:extLst>
              <a:ext uri="{FF2B5EF4-FFF2-40B4-BE49-F238E27FC236}">
                <a16:creationId xmlns:a16="http://schemas.microsoft.com/office/drawing/2014/main" id="{D73C6B19-E29F-654D-9A7E-DD644DFF1DA4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7236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6AA005E-40A5-AB4A-A62E-33761D55440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48812" y="2425374"/>
            <a:ext cx="5157787" cy="65470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733" b="1">
                <a:solidFill>
                  <a:schemeClr val="accent5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Subheading Goes Her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F2E3C12B-D410-2B4B-A45D-D9E5F63202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8812" y="3080077"/>
            <a:ext cx="5157787" cy="25874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0">
                <a:solidFill>
                  <a:schemeClr val="tx1"/>
                </a:solidFill>
              </a:defRPr>
            </a:lvl1pPr>
            <a:lvl2pPr>
              <a:defRPr b="0">
                <a:solidFill>
                  <a:schemeClr val="tx1"/>
                </a:solidFill>
              </a:defRPr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E3AC62B-A579-6E4B-A199-03CD587D307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81227" y="2425374"/>
            <a:ext cx="5183188" cy="65470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3733" b="1">
                <a:solidFill>
                  <a:schemeClr val="accent5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Subheading Goes Here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668471F-7741-314E-B2B7-0AFB4D0E2C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81227" y="3080077"/>
            <a:ext cx="5183188" cy="25874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  <a:lvl2pPr>
              <a:defRPr b="0">
                <a:solidFill>
                  <a:schemeClr val="tx1"/>
                </a:solidFill>
                <a:latin typeface="+mn-lt"/>
              </a:defRPr>
            </a:lvl2pPr>
            <a:lvl3pPr>
              <a:defRPr b="0">
                <a:solidFill>
                  <a:schemeClr val="tx1"/>
                </a:solidFill>
                <a:latin typeface="+mn-lt"/>
              </a:defRPr>
            </a:lvl3pPr>
            <a:lvl4pPr>
              <a:defRPr b="0">
                <a:solidFill>
                  <a:schemeClr val="tx1"/>
                </a:solidFill>
                <a:latin typeface="+mn-lt"/>
              </a:defRPr>
            </a:lvl4pPr>
            <a:lvl5pPr>
              <a:defRPr b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F130D7E-B155-5149-AB0A-B65DB1B6C228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21D398F-3416-224B-903E-5CCB4BC5384A}"/>
                </a:ext>
              </a:extLst>
            </p:cNvPr>
            <p:cNvCxnSpPr>
              <a:cxnSpLocks/>
              <a:endCxn id="30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467E0369-136B-C747-A3F9-3E33CBF3616A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30" name="Rectangle 4">
              <a:extLst>
                <a:ext uri="{FF2B5EF4-FFF2-40B4-BE49-F238E27FC236}">
                  <a16:creationId xmlns:a16="http://schemas.microsoft.com/office/drawing/2014/main" id="{C30C23DF-6FCB-D44B-B23D-5838BABC2C2B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38A2F252-B12E-7549-BB0A-4F1BB6679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8817" y="1240663"/>
            <a:ext cx="10504988" cy="118471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4800" b="1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D1729EA-F57D-9040-A757-9E27595BE7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33" name="Flowchart: Off-page Connector 9">
            <a:extLst>
              <a:ext uri="{FF2B5EF4-FFF2-40B4-BE49-F238E27FC236}">
                <a16:creationId xmlns:a16="http://schemas.microsoft.com/office/drawing/2014/main" id="{848DD150-DBB9-1843-B53F-92A41001B02B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86773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2FB067B-53F6-9E40-8D38-CE9359F78698}"/>
              </a:ext>
            </a:extLst>
          </p:cNvPr>
          <p:cNvSpPr/>
          <p:nvPr userDrawn="1"/>
        </p:nvSpPr>
        <p:spPr>
          <a:xfrm>
            <a:off x="-1" y="3"/>
            <a:ext cx="12192000" cy="686409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0E15719D-389F-4F4B-85F2-73F117524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2597" y="3966489"/>
            <a:ext cx="9646187" cy="946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Section Subtitle or Presenter Name 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99D4E732-18BB-FF4B-86AC-404534162A70}"/>
              </a:ext>
            </a:extLst>
          </p:cNvPr>
          <p:cNvSpPr/>
          <p:nvPr userDrawn="1"/>
        </p:nvSpPr>
        <p:spPr>
          <a:xfrm>
            <a:off x="-9293" y="1"/>
            <a:ext cx="12192128" cy="2097372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8C01D950-6251-8841-AC25-A818CCB2D18B}"/>
              </a:ext>
            </a:extLst>
          </p:cNvPr>
          <p:cNvSpPr/>
          <p:nvPr userDrawn="1"/>
        </p:nvSpPr>
        <p:spPr>
          <a:xfrm flipH="1">
            <a:off x="2931" y="2"/>
            <a:ext cx="12189073" cy="186666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 dirty="0"/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E615E1CE-1226-244B-A07B-5ED82E6F1637}"/>
              </a:ext>
            </a:extLst>
          </p:cNvPr>
          <p:cNvSpPr/>
          <p:nvPr userDrawn="1"/>
        </p:nvSpPr>
        <p:spPr>
          <a:xfrm>
            <a:off x="4169819" y="4"/>
            <a:ext cx="8022181" cy="1748159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61EC1FB-4B2A-9A47-80AA-98ACC021936A}"/>
              </a:ext>
            </a:extLst>
          </p:cNvPr>
          <p:cNvCxnSpPr/>
          <p:nvPr userDrawn="1"/>
        </p:nvCxnSpPr>
        <p:spPr>
          <a:xfrm flipH="1" flipV="1">
            <a:off x="26578" y="597785"/>
            <a:ext cx="9590876" cy="2768532"/>
          </a:xfrm>
          <a:prstGeom prst="line">
            <a:avLst/>
          </a:prstGeom>
          <a:ln w="25400" cap="flat">
            <a:solidFill>
              <a:schemeClr val="bg1">
                <a:alpha val="3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2054342-9363-174C-B964-9D4A33ECA619}"/>
              </a:ext>
            </a:extLst>
          </p:cNvPr>
          <p:cNvCxnSpPr/>
          <p:nvPr userDrawn="1"/>
        </p:nvCxnSpPr>
        <p:spPr>
          <a:xfrm flipH="1" flipV="1">
            <a:off x="-95624" y="597785"/>
            <a:ext cx="8320035" cy="2915348"/>
          </a:xfrm>
          <a:prstGeom prst="line">
            <a:avLst/>
          </a:prstGeom>
          <a:ln w="25400" cap="flat">
            <a:solidFill>
              <a:schemeClr val="bg1">
                <a:alpha val="3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4">
            <a:extLst>
              <a:ext uri="{FF2B5EF4-FFF2-40B4-BE49-F238E27FC236}">
                <a16:creationId xmlns:a16="http://schemas.microsoft.com/office/drawing/2014/main" id="{535C108C-BAEE-CC4F-B784-43C38CB6968D}"/>
              </a:ext>
            </a:extLst>
          </p:cNvPr>
          <p:cNvSpPr/>
          <p:nvPr userDrawn="1"/>
        </p:nvSpPr>
        <p:spPr>
          <a:xfrm flipV="1">
            <a:off x="0" y="4971482"/>
            <a:ext cx="12192000" cy="1892615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CC0C7A41-8410-C046-8252-7E793A7DD531}"/>
              </a:ext>
            </a:extLst>
          </p:cNvPr>
          <p:cNvSpPr/>
          <p:nvPr userDrawn="1"/>
        </p:nvSpPr>
        <p:spPr>
          <a:xfrm flipH="1" flipV="1">
            <a:off x="0" y="4912679"/>
            <a:ext cx="12192000" cy="1951423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2" name="Rectangle 4">
            <a:extLst>
              <a:ext uri="{FF2B5EF4-FFF2-40B4-BE49-F238E27FC236}">
                <a16:creationId xmlns:a16="http://schemas.microsoft.com/office/drawing/2014/main" id="{A28648D9-BCFA-684B-ABFD-587CAB0AA2B8}"/>
              </a:ext>
            </a:extLst>
          </p:cNvPr>
          <p:cNvSpPr/>
          <p:nvPr userDrawn="1"/>
        </p:nvSpPr>
        <p:spPr>
          <a:xfrm flipV="1">
            <a:off x="4229759" y="5044281"/>
            <a:ext cx="7962247" cy="181982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B272E498-DBA6-5345-A39A-55F7285E565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73221" y="1925468"/>
            <a:ext cx="9645569" cy="20350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8000" b="1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741624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3D4085BB-4C04-A241-B01D-3CC317AC6C0D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306F48AC-3929-5542-913A-3DDF8EF265D6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C36DA67-1B8C-7C40-A421-C99D5303433B}"/>
                </a:ext>
              </a:extLst>
            </p:cNvPr>
            <p:cNvCxnSpPr>
              <a:cxnSpLocks/>
              <a:endCxn id="26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6DDBEF-6571-ED4E-B859-16829849F965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016D0ABF-A655-494B-A236-9D4FC8864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1316570"/>
            <a:ext cx="4312363" cy="142663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ts val="4800"/>
              </a:lnSpc>
              <a:defRPr sz="4800" b="1">
                <a:solidFill>
                  <a:srgbClr val="005CA8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C9E690D-85D8-4B49-B02E-EA75C1767D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63256" y="1316571"/>
            <a:ext cx="5892137" cy="44741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733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sz="3200" b="0">
                <a:solidFill>
                  <a:schemeClr val="tx1"/>
                </a:solidFill>
                <a:latin typeface="+mn-lt"/>
              </a:defRPr>
            </a:lvl2pPr>
            <a:lvl3pPr>
              <a:defRPr sz="2667" b="0">
                <a:solidFill>
                  <a:schemeClr val="tx1"/>
                </a:solidFill>
                <a:latin typeface="+mn-lt"/>
              </a:defRPr>
            </a:lvl3pPr>
            <a:lvl4pPr>
              <a:defRPr sz="2667" b="0">
                <a:solidFill>
                  <a:schemeClr val="tx1"/>
                </a:solidFill>
                <a:latin typeface="+mn-lt"/>
              </a:defRPr>
            </a:lvl4pPr>
            <a:lvl5pPr>
              <a:defRPr sz="2667" b="0">
                <a:solidFill>
                  <a:schemeClr val="tx1"/>
                </a:solidFill>
                <a:latin typeface="+mn-lt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2332694A-CAF0-C74E-9447-5A307BC66F28}"/>
              </a:ext>
            </a:extLst>
          </p:cNvPr>
          <p:cNvSpPr>
            <a:spLocks noGrp="1" noChangeAspect="1"/>
          </p:cNvSpPr>
          <p:nvPr>
            <p:ph type="pic" idx="10"/>
          </p:nvPr>
        </p:nvSpPr>
        <p:spPr>
          <a:xfrm>
            <a:off x="839794" y="2743201"/>
            <a:ext cx="4312361" cy="304751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3200" b="0">
                <a:solidFill>
                  <a:schemeClr val="tx2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7BE49A17-90B2-8547-8C0B-B93779C153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31" name="Flowchart: Off-page Connector 9">
            <a:extLst>
              <a:ext uri="{FF2B5EF4-FFF2-40B4-BE49-F238E27FC236}">
                <a16:creationId xmlns:a16="http://schemas.microsoft.com/office/drawing/2014/main" id="{CD3D310A-BCEA-D945-8168-3B393069104D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72013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72D023B0-2D82-9C42-88F7-B226F2705120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8117037D-C0BF-7C48-A285-A305B0ED8B3D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FC7512C-0C97-C148-A06B-CD30934261D2}"/>
                </a:ext>
              </a:extLst>
            </p:cNvPr>
            <p:cNvCxnSpPr>
              <a:cxnSpLocks/>
              <a:endCxn id="26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5BA75A9-D763-644B-9163-A16275063B35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874D463-FEB1-6447-8583-98C4B5B3A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94" y="1316570"/>
            <a:ext cx="4312361" cy="142663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lnSpc>
                <a:spcPts val="4800"/>
              </a:lnSpc>
              <a:defRPr sz="4800" b="1">
                <a:solidFill>
                  <a:srgbClr val="005CA8"/>
                </a:solidFill>
                <a:latin typeface="+mn-lt"/>
              </a:defRPr>
            </a:lvl1pPr>
          </a:lstStyle>
          <a:p>
            <a:r>
              <a:rPr lang="en-US" dirty="0"/>
              <a:t>Main Heading Goes Here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F6591F3B-C31B-3F4B-B31C-B55946EDDB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2743202"/>
            <a:ext cx="4312363" cy="29242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733" b="0" i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 sz="3200" b="0">
                <a:solidFill>
                  <a:schemeClr val="tx1"/>
                </a:solidFill>
                <a:latin typeface="+mn-lt"/>
              </a:defRPr>
            </a:lvl2pPr>
            <a:lvl3pPr>
              <a:defRPr sz="2667" b="0">
                <a:solidFill>
                  <a:schemeClr val="tx1"/>
                </a:solidFill>
                <a:latin typeface="+mn-lt"/>
              </a:defRPr>
            </a:lvl3pPr>
            <a:lvl4pPr>
              <a:defRPr sz="2667" b="0">
                <a:solidFill>
                  <a:schemeClr val="tx1"/>
                </a:solidFill>
                <a:latin typeface="+mn-lt"/>
              </a:defRPr>
            </a:lvl4pPr>
            <a:lvl5pPr>
              <a:defRPr sz="2667" b="0">
                <a:solidFill>
                  <a:schemeClr val="tx1"/>
                </a:solidFill>
                <a:latin typeface="+mn-lt"/>
              </a:defRPr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752972E4-AFAF-5442-81C2-0EF8BFC25CD0}"/>
              </a:ext>
            </a:extLst>
          </p:cNvPr>
          <p:cNvSpPr>
            <a:spLocks noGrp="1" noChangeAspect="1"/>
          </p:cNvSpPr>
          <p:nvPr>
            <p:ph type="pic" idx="10"/>
          </p:nvPr>
        </p:nvSpPr>
        <p:spPr>
          <a:xfrm>
            <a:off x="5432214" y="1316573"/>
            <a:ext cx="5892137" cy="435092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3200" b="0">
                <a:solidFill>
                  <a:schemeClr val="tx2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8ED4CE0-9D20-E044-B178-3F909BE419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6" y="5868989"/>
            <a:ext cx="1966396" cy="851801"/>
          </a:xfrm>
          <a:prstGeom prst="rect">
            <a:avLst/>
          </a:prstGeom>
        </p:spPr>
      </p:pic>
      <p:sp>
        <p:nvSpPr>
          <p:cNvPr id="31" name="Flowchart: Off-page Connector 9">
            <a:extLst>
              <a:ext uri="{FF2B5EF4-FFF2-40B4-BE49-F238E27FC236}">
                <a16:creationId xmlns:a16="http://schemas.microsoft.com/office/drawing/2014/main" id="{8629E4E7-CB92-5844-82A5-4AEFF9D11FA0}"/>
              </a:ext>
            </a:extLst>
          </p:cNvPr>
          <p:cNvSpPr/>
          <p:nvPr userDrawn="1"/>
        </p:nvSpPr>
        <p:spPr>
          <a:xfrm>
            <a:off x="11324351" y="6158561"/>
            <a:ext cx="516099" cy="272655"/>
          </a:xfrm>
          <a:prstGeom prst="flowChartOffpageConnector">
            <a:avLst/>
          </a:prstGeom>
          <a:solidFill>
            <a:srgbClr val="003865">
              <a:alpha val="0"/>
            </a:srgb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D54E57D-AA25-48FE-BAD8-96F3F656CFE4}" type="slidenum">
              <a:rPr lang="en-US" sz="1467" b="1" smtClean="0">
                <a:solidFill>
                  <a:srgbClr val="005CA8"/>
                </a:solidFill>
                <a:latin typeface="+mj-lt"/>
                <a:ea typeface="Open Sans" pitchFamily="34" charset="0"/>
                <a:cs typeface="Arial" pitchFamily="34" charset="0"/>
              </a:rPr>
              <a:pPr algn="ctr"/>
              <a:t>‹#›</a:t>
            </a:fld>
            <a:endParaRPr lang="en-US" sz="900" b="1" dirty="0">
              <a:solidFill>
                <a:srgbClr val="005CA8"/>
              </a:solidFill>
              <a:latin typeface="+mj-lt"/>
              <a:ea typeface="Open San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6511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 -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F7EE30D8-3217-C84B-86AC-C0FEE7C894D7}"/>
              </a:ext>
            </a:extLst>
          </p:cNvPr>
          <p:cNvSpPr/>
          <p:nvPr userDrawn="1"/>
        </p:nvSpPr>
        <p:spPr>
          <a:xfrm>
            <a:off x="-1" y="1"/>
            <a:ext cx="12192000" cy="68640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1566B673-6BB2-DA49-8FB3-EC436E1E0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2597" y="2749373"/>
            <a:ext cx="9646187" cy="7224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267">
                <a:solidFill>
                  <a:schemeClr val="bg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Subtitle or Contact Information</a:t>
            </a: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237CE768-077D-BA4A-A5B1-D133F768CF92}"/>
              </a:ext>
            </a:extLst>
          </p:cNvPr>
          <p:cNvSpPr/>
          <p:nvPr userDrawn="1"/>
        </p:nvSpPr>
        <p:spPr>
          <a:xfrm>
            <a:off x="-9293" y="1"/>
            <a:ext cx="12192128" cy="2097372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C7C4C2BB-4422-A547-8BB5-C097BCC76CDD}"/>
              </a:ext>
            </a:extLst>
          </p:cNvPr>
          <p:cNvSpPr/>
          <p:nvPr userDrawn="1"/>
        </p:nvSpPr>
        <p:spPr>
          <a:xfrm flipH="1">
            <a:off x="2931" y="2"/>
            <a:ext cx="12189073" cy="186666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 dirty="0"/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8AFDC58F-C33C-8347-BF72-813D028CF608}"/>
              </a:ext>
            </a:extLst>
          </p:cNvPr>
          <p:cNvSpPr/>
          <p:nvPr userDrawn="1"/>
        </p:nvSpPr>
        <p:spPr>
          <a:xfrm>
            <a:off x="4169819" y="4"/>
            <a:ext cx="8022181" cy="1748159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F20A9D5-5CD4-984F-82DB-BA251629EA74}"/>
              </a:ext>
            </a:extLst>
          </p:cNvPr>
          <p:cNvCxnSpPr/>
          <p:nvPr userDrawn="1"/>
        </p:nvCxnSpPr>
        <p:spPr>
          <a:xfrm flipH="1" flipV="1">
            <a:off x="103745" y="597785"/>
            <a:ext cx="9590876" cy="2768532"/>
          </a:xfrm>
          <a:prstGeom prst="line">
            <a:avLst/>
          </a:prstGeom>
          <a:ln w="25400" cap="flat">
            <a:solidFill>
              <a:schemeClr val="bg1">
                <a:alpha val="3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9EAC84F8-CC3D-5942-9294-75AA817EDFA0}"/>
              </a:ext>
            </a:extLst>
          </p:cNvPr>
          <p:cNvCxnSpPr/>
          <p:nvPr userDrawn="1"/>
        </p:nvCxnSpPr>
        <p:spPr>
          <a:xfrm flipH="1" flipV="1">
            <a:off x="-18458" y="597785"/>
            <a:ext cx="8320035" cy="2915348"/>
          </a:xfrm>
          <a:prstGeom prst="line">
            <a:avLst/>
          </a:prstGeom>
          <a:ln w="25400" cap="flat">
            <a:solidFill>
              <a:schemeClr val="bg1">
                <a:alpha val="3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4">
            <a:extLst>
              <a:ext uri="{FF2B5EF4-FFF2-40B4-BE49-F238E27FC236}">
                <a16:creationId xmlns:a16="http://schemas.microsoft.com/office/drawing/2014/main" id="{3A2DFB7D-5D39-7040-B936-FC198BD7F0EC}"/>
              </a:ext>
            </a:extLst>
          </p:cNvPr>
          <p:cNvSpPr/>
          <p:nvPr userDrawn="1"/>
        </p:nvSpPr>
        <p:spPr>
          <a:xfrm flipV="1">
            <a:off x="0" y="4971478"/>
            <a:ext cx="12192000" cy="1892615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739445 w 4445636"/>
              <a:gd name="connsiteY3" fmla="*/ 316683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468864 w 4445636"/>
              <a:gd name="connsiteY3" fmla="*/ 541426 h 817247"/>
              <a:gd name="connsiteX4" fmla="*/ 0 w 4445636"/>
              <a:gd name="connsiteY4" fmla="*/ 0 h 817247"/>
              <a:gd name="connsiteX0" fmla="*/ 7731 w 4453367"/>
              <a:gd name="connsiteY0" fmla="*/ 0 h 817247"/>
              <a:gd name="connsiteX1" fmla="*/ 4453367 w 4453367"/>
              <a:gd name="connsiteY1" fmla="*/ 0 h 817247"/>
              <a:gd name="connsiteX2" fmla="*/ 4453367 w 4453367"/>
              <a:gd name="connsiteY2" fmla="*/ 817247 h 817247"/>
              <a:gd name="connsiteX3" fmla="*/ 0 w 4453367"/>
              <a:gd name="connsiteY3" fmla="*/ 234959 h 817247"/>
              <a:gd name="connsiteX4" fmla="*/ 7731 w 4453367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3367" h="817247">
                <a:moveTo>
                  <a:pt x="7731" y="0"/>
                </a:moveTo>
                <a:lnTo>
                  <a:pt x="4453367" y="0"/>
                </a:lnTo>
                <a:lnTo>
                  <a:pt x="4453367" y="817247"/>
                </a:lnTo>
                <a:lnTo>
                  <a:pt x="0" y="234959"/>
                </a:lnTo>
                <a:lnTo>
                  <a:pt x="7731" y="0"/>
                </a:lnTo>
                <a:close/>
              </a:path>
            </a:pathLst>
          </a:custGeom>
          <a:solidFill>
            <a:srgbClr val="D0D0D0">
              <a:alpha val="5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59DF35E8-C703-B947-B29E-B25E9135A1CF}"/>
              </a:ext>
            </a:extLst>
          </p:cNvPr>
          <p:cNvSpPr/>
          <p:nvPr userDrawn="1"/>
        </p:nvSpPr>
        <p:spPr>
          <a:xfrm flipH="1" flipV="1">
            <a:off x="0" y="4912677"/>
            <a:ext cx="12192000" cy="1951423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1290070 w 4445636"/>
              <a:gd name="connsiteY3" fmla="*/ 215900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152399 h 817247"/>
              <a:gd name="connsiteX4" fmla="*/ 0 w 4445636"/>
              <a:gd name="connsiteY4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15239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8" name="Rectangle 4">
            <a:extLst>
              <a:ext uri="{FF2B5EF4-FFF2-40B4-BE49-F238E27FC236}">
                <a16:creationId xmlns:a16="http://schemas.microsoft.com/office/drawing/2014/main" id="{FE876A7C-DBE2-D84F-8602-4EABC4D7A320}"/>
              </a:ext>
            </a:extLst>
          </p:cNvPr>
          <p:cNvSpPr/>
          <p:nvPr userDrawn="1"/>
        </p:nvSpPr>
        <p:spPr>
          <a:xfrm flipV="1">
            <a:off x="4229759" y="5044279"/>
            <a:ext cx="7962247" cy="1819820"/>
          </a:xfrm>
          <a:custGeom>
            <a:avLst/>
            <a:gdLst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817247 h 817247"/>
              <a:gd name="connsiteX4" fmla="*/ 0 w 4445636"/>
              <a:gd name="connsiteY4" fmla="*/ 0 h 817247"/>
              <a:gd name="connsiteX0" fmla="*/ 0 w 4445636"/>
              <a:gd name="connsiteY0" fmla="*/ 0 h 817247"/>
              <a:gd name="connsiteX1" fmla="*/ 4445636 w 4445636"/>
              <a:gd name="connsiteY1" fmla="*/ 0 h 817247"/>
              <a:gd name="connsiteX2" fmla="*/ 4445636 w 4445636"/>
              <a:gd name="connsiteY2" fmla="*/ 817247 h 817247"/>
              <a:gd name="connsiteX3" fmla="*/ 0 w 4445636"/>
              <a:gd name="connsiteY3" fmla="*/ 0 h 817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45636" h="817247">
                <a:moveTo>
                  <a:pt x="0" y="0"/>
                </a:moveTo>
                <a:lnTo>
                  <a:pt x="4445636" y="0"/>
                </a:lnTo>
                <a:lnTo>
                  <a:pt x="4445636" y="8172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/>
          </a:p>
        </p:txBody>
      </p:sp>
      <p:sp>
        <p:nvSpPr>
          <p:cNvPr id="29" name="Content Placeholder 10">
            <a:extLst>
              <a:ext uri="{FF2B5EF4-FFF2-40B4-BE49-F238E27FC236}">
                <a16:creationId xmlns:a16="http://schemas.microsoft.com/office/drawing/2014/main" id="{1F982214-7117-3348-99AA-6FDC66C977C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272913" y="1608183"/>
            <a:ext cx="9645569" cy="11411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7200" b="1">
                <a:solidFill>
                  <a:schemeClr val="bg1"/>
                </a:solidFill>
              </a:defRPr>
            </a:lvl1pPr>
            <a:lvl2pPr marL="609585" indent="0">
              <a:buNone/>
              <a:defRPr>
                <a:solidFill>
                  <a:schemeClr val="bg1"/>
                </a:solidFill>
              </a:defRPr>
            </a:lvl2pPr>
            <a:lvl3pPr marL="1219170" indent="0">
              <a:buNone/>
              <a:defRPr>
                <a:solidFill>
                  <a:schemeClr val="bg1"/>
                </a:solidFill>
              </a:defRPr>
            </a:lvl3pPr>
            <a:lvl4pPr marL="1828754" indent="0">
              <a:buNone/>
              <a:defRPr>
                <a:solidFill>
                  <a:schemeClr val="bg1"/>
                </a:solidFill>
              </a:defRPr>
            </a:lvl4pPr>
            <a:lvl5pPr marL="243833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D PAG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FC6C4BB-F020-1243-BFF8-E27D67D5153E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8037" y="3803378"/>
            <a:ext cx="3722688" cy="1612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23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: 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DE19E568-1D9B-0E44-8DDC-7FA05290A4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-11966" b="13850"/>
          <a:stretch/>
        </p:blipFill>
        <p:spPr>
          <a:xfrm>
            <a:off x="6" y="1731727"/>
            <a:ext cx="12213167" cy="4998720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42583C35-FD84-FD48-B6D0-E19B2C979B7C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0016939B-A2BC-A548-9C0C-75BCE6433EA4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822022D-105C-454C-AFC5-A9AE4D26EFAC}"/>
                </a:ext>
              </a:extLst>
            </p:cNvPr>
            <p:cNvCxnSpPr>
              <a:cxnSpLocks/>
              <a:endCxn id="45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">
              <a:extLst>
                <a:ext uri="{FF2B5EF4-FFF2-40B4-BE49-F238E27FC236}">
                  <a16:creationId xmlns:a16="http://schemas.microsoft.com/office/drawing/2014/main" id="{C3667E40-1F21-BB4D-9B19-79F2C8466EE6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85D903B-22A0-1942-84B9-C909637AF32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165167" y="5873500"/>
            <a:ext cx="3048000" cy="990602"/>
            <a:chOff x="6858000" y="4171948"/>
            <a:chExt cx="2286000" cy="742952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24FA4E22-CBB9-8447-9F2C-8ECCD9464A5B}"/>
                </a:ext>
              </a:extLst>
            </p:cNvPr>
            <p:cNvSpPr/>
            <p:nvPr/>
          </p:nvSpPr>
          <p:spPr>
            <a:xfrm>
              <a:off x="6858000" y="4171948"/>
              <a:ext cx="2286000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85D408E0-5330-A647-B447-8458F8CF07EB}"/>
                </a:ext>
              </a:extLst>
            </p:cNvPr>
            <p:cNvSpPr/>
            <p:nvPr/>
          </p:nvSpPr>
          <p:spPr>
            <a:xfrm>
              <a:off x="6858000" y="4171948"/>
              <a:ext cx="685800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A8BCA35A-4946-5949-A768-C9ED5B8A3459}"/>
                </a:ext>
              </a:extLst>
            </p:cNvPr>
            <p:cNvGrpSpPr/>
            <p:nvPr/>
          </p:nvGrpSpPr>
          <p:grpSpPr>
            <a:xfrm>
              <a:off x="7017562" y="4371662"/>
              <a:ext cx="366676" cy="343525"/>
              <a:chOff x="4020223" y="2790429"/>
              <a:chExt cx="366676" cy="343525"/>
            </a:xfrm>
            <a:solidFill>
              <a:schemeClr val="bg1"/>
            </a:solidFill>
          </p:grpSpPr>
          <p:sp>
            <p:nvSpPr>
              <p:cNvPr id="51" name="AutoShape 110">
                <a:extLst>
                  <a:ext uri="{FF2B5EF4-FFF2-40B4-BE49-F238E27FC236}">
                    <a16:creationId xmlns:a16="http://schemas.microsoft.com/office/drawing/2014/main" id="{BDBA387A-902B-3349-B9F0-84C67DB62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6529" y="2836108"/>
                <a:ext cx="274069" cy="1833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99" y="20255"/>
                    </a:moveTo>
                    <a:lnTo>
                      <a:pt x="899" y="20255"/>
                    </a:lnTo>
                    <a:lnTo>
                      <a:pt x="899" y="1350"/>
                    </a:lnTo>
                    <a:lnTo>
                      <a:pt x="20699" y="1350"/>
                    </a:lnTo>
                    <a:cubicBezTo>
                      <a:pt x="20699" y="1350"/>
                      <a:pt x="20699" y="20255"/>
                      <a:pt x="20699" y="20255"/>
                    </a:cubicBezTo>
                    <a:close/>
                    <a:moveTo>
                      <a:pt x="20699" y="0"/>
                    </a:moveTo>
                    <a:lnTo>
                      <a:pt x="899" y="5"/>
                    </a:lnTo>
                    <a:cubicBezTo>
                      <a:pt x="402" y="5"/>
                      <a:pt x="0" y="603"/>
                      <a:pt x="0" y="1350"/>
                    </a:cubicBezTo>
                    <a:lnTo>
                      <a:pt x="0" y="20249"/>
                    </a:lnTo>
                    <a:cubicBezTo>
                      <a:pt x="0" y="20996"/>
                      <a:pt x="402" y="21599"/>
                      <a:pt x="899" y="21599"/>
                    </a:cubicBezTo>
                    <a:lnTo>
                      <a:pt x="20699" y="21599"/>
                    </a:lnTo>
                    <a:cubicBezTo>
                      <a:pt x="21197" y="21599"/>
                      <a:pt x="21600" y="20996"/>
                      <a:pt x="21600" y="20249"/>
                    </a:cubicBezTo>
                    <a:lnTo>
                      <a:pt x="21600" y="1350"/>
                    </a:lnTo>
                    <a:cubicBezTo>
                      <a:pt x="21600" y="603"/>
                      <a:pt x="21197" y="0"/>
                      <a:pt x="20699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52" name="AutoShape 111">
                <a:extLst>
                  <a:ext uri="{FF2B5EF4-FFF2-40B4-BE49-F238E27FC236}">
                    <a16:creationId xmlns:a16="http://schemas.microsoft.com/office/drawing/2014/main" id="{95048BAA-500B-6248-943A-4B7FD52FF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0223" y="2790429"/>
                <a:ext cx="366676" cy="3435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49" y="16562"/>
                    </a:moveTo>
                    <a:cubicBezTo>
                      <a:pt x="20249" y="16959"/>
                      <a:pt x="19946" y="17282"/>
                      <a:pt x="19575" y="17282"/>
                    </a:cubicBezTo>
                    <a:lnTo>
                      <a:pt x="13499" y="17282"/>
                    </a:lnTo>
                    <a:lnTo>
                      <a:pt x="8099" y="17282"/>
                    </a:lnTo>
                    <a:lnTo>
                      <a:pt x="2024" y="17282"/>
                    </a:lnTo>
                    <a:cubicBezTo>
                      <a:pt x="1651" y="17282"/>
                      <a:pt x="1349" y="16959"/>
                      <a:pt x="1349" y="16562"/>
                    </a:cubicBezTo>
                    <a:lnTo>
                      <a:pt x="1349" y="2160"/>
                    </a:lnTo>
                    <a:cubicBezTo>
                      <a:pt x="1349" y="1762"/>
                      <a:pt x="1651" y="1440"/>
                      <a:pt x="2024" y="1440"/>
                    </a:cubicBezTo>
                    <a:lnTo>
                      <a:pt x="19575" y="1440"/>
                    </a:lnTo>
                    <a:cubicBezTo>
                      <a:pt x="19946" y="1440"/>
                      <a:pt x="20249" y="1762"/>
                      <a:pt x="20249" y="2160"/>
                    </a:cubicBezTo>
                    <a:cubicBezTo>
                      <a:pt x="20249" y="2160"/>
                      <a:pt x="20249" y="16562"/>
                      <a:pt x="20249" y="16562"/>
                    </a:cubicBezTo>
                    <a:close/>
                    <a:moveTo>
                      <a:pt x="19575" y="0"/>
                    </a:moveTo>
                    <a:lnTo>
                      <a:pt x="2024" y="0"/>
                    </a:lnTo>
                    <a:cubicBezTo>
                      <a:pt x="905" y="0"/>
                      <a:pt x="0" y="966"/>
                      <a:pt x="0" y="2160"/>
                    </a:cubicBezTo>
                    <a:lnTo>
                      <a:pt x="0" y="16562"/>
                    </a:lnTo>
                    <a:cubicBezTo>
                      <a:pt x="0" y="17753"/>
                      <a:pt x="903" y="18718"/>
                      <a:pt x="2018" y="18721"/>
                    </a:cubicBezTo>
                    <a:lnTo>
                      <a:pt x="8774" y="18721"/>
                    </a:lnTo>
                    <a:lnTo>
                      <a:pt x="8774" y="19597"/>
                    </a:lnTo>
                    <a:lnTo>
                      <a:pt x="4561" y="20181"/>
                    </a:lnTo>
                    <a:cubicBezTo>
                      <a:pt x="4260" y="20262"/>
                      <a:pt x="4049" y="20549"/>
                      <a:pt x="4049" y="20879"/>
                    </a:cubicBezTo>
                    <a:cubicBezTo>
                      <a:pt x="4049" y="21277"/>
                      <a:pt x="4351" y="21599"/>
                      <a:pt x="4724" y="21599"/>
                    </a:cubicBezTo>
                    <a:lnTo>
                      <a:pt x="16874" y="21599"/>
                    </a:lnTo>
                    <a:cubicBezTo>
                      <a:pt x="17248" y="21599"/>
                      <a:pt x="17549" y="21277"/>
                      <a:pt x="17549" y="20879"/>
                    </a:cubicBezTo>
                    <a:cubicBezTo>
                      <a:pt x="17549" y="20549"/>
                      <a:pt x="17339" y="20262"/>
                      <a:pt x="17038" y="20181"/>
                    </a:cubicBezTo>
                    <a:lnTo>
                      <a:pt x="12824" y="19597"/>
                    </a:lnTo>
                    <a:lnTo>
                      <a:pt x="12824" y="18721"/>
                    </a:lnTo>
                    <a:lnTo>
                      <a:pt x="19581" y="18721"/>
                    </a:lnTo>
                    <a:cubicBezTo>
                      <a:pt x="20696" y="18718"/>
                      <a:pt x="21600" y="17753"/>
                      <a:pt x="21600" y="16562"/>
                    </a:cubicBezTo>
                    <a:lnTo>
                      <a:pt x="21600" y="2160"/>
                    </a:lnTo>
                    <a:cubicBezTo>
                      <a:pt x="21600" y="966"/>
                      <a:pt x="20692" y="0"/>
                      <a:pt x="19575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50" name="TextBox 24">
              <a:extLst>
                <a:ext uri="{FF2B5EF4-FFF2-40B4-BE49-F238E27FC236}">
                  <a16:creationId xmlns:a16="http://schemas.microsoft.com/office/drawing/2014/main" id="{3E1F9B3C-F567-F14F-B72A-F0BEC0A288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12838" y="4401630"/>
              <a:ext cx="1295400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 err="1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www.mdic.org</a:t>
              </a:r>
              <a:endParaRPr lang="en-US" sz="1467" b="1" dirty="0">
                <a:solidFill>
                  <a:srgbClr val="005CA8"/>
                </a:solidFill>
                <a:latin typeface="+mn-lt"/>
                <a:cs typeface="Open Sans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4150018-DC4D-4842-82C9-BE17B9D67AA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69167" y="5873500"/>
            <a:ext cx="3048000" cy="990602"/>
            <a:chOff x="2286000" y="4171948"/>
            <a:chExt cx="2286000" cy="742952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4B362C9-30A2-2D46-B1A7-DC58A2A7F665}"/>
                </a:ext>
              </a:extLst>
            </p:cNvPr>
            <p:cNvSpPr/>
            <p:nvPr/>
          </p:nvSpPr>
          <p:spPr>
            <a:xfrm>
              <a:off x="2286000" y="4171948"/>
              <a:ext cx="2286000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1CC30C99-8883-F64C-B817-4E388D195358}"/>
                </a:ext>
              </a:extLst>
            </p:cNvPr>
            <p:cNvSpPr/>
            <p:nvPr/>
          </p:nvSpPr>
          <p:spPr>
            <a:xfrm>
              <a:off x="2286000" y="4171948"/>
              <a:ext cx="685800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56" name="AutoShape 83">
              <a:extLst>
                <a:ext uri="{FF2B5EF4-FFF2-40B4-BE49-F238E27FC236}">
                  <a16:creationId xmlns:a16="http://schemas.microsoft.com/office/drawing/2014/main" id="{244BACD1-3403-CF44-B781-194546EF8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6338" y="4422774"/>
              <a:ext cx="365125" cy="24130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1610" y="13990"/>
                  </a:moveTo>
                  <a:cubicBezTo>
                    <a:pt x="11373" y="14259"/>
                    <a:pt x="11093" y="14400"/>
                    <a:pt x="10800" y="14400"/>
                  </a:cubicBezTo>
                  <a:cubicBezTo>
                    <a:pt x="10505" y="14400"/>
                    <a:pt x="10225" y="14259"/>
                    <a:pt x="9990" y="13990"/>
                  </a:cubicBezTo>
                  <a:lnTo>
                    <a:pt x="7198" y="10800"/>
                  </a:lnTo>
                  <a:lnTo>
                    <a:pt x="6636" y="10157"/>
                  </a:lnTo>
                  <a:lnTo>
                    <a:pt x="1349" y="4115"/>
                  </a:lnTo>
                  <a:lnTo>
                    <a:pt x="1349" y="4114"/>
                  </a:lnTo>
                  <a:cubicBezTo>
                    <a:pt x="1349" y="2980"/>
                    <a:pt x="1955" y="2057"/>
                    <a:pt x="2699" y="2057"/>
                  </a:cubicBezTo>
                  <a:lnTo>
                    <a:pt x="18899" y="2057"/>
                  </a:lnTo>
                  <a:cubicBezTo>
                    <a:pt x="19643" y="2057"/>
                    <a:pt x="20249" y="2980"/>
                    <a:pt x="20249" y="4114"/>
                  </a:cubicBezTo>
                  <a:cubicBezTo>
                    <a:pt x="20249" y="4114"/>
                    <a:pt x="11610" y="13990"/>
                    <a:pt x="11610" y="13990"/>
                  </a:cubicBezTo>
                  <a:close/>
                  <a:moveTo>
                    <a:pt x="20249" y="16198"/>
                  </a:moveTo>
                  <a:lnTo>
                    <a:pt x="15525" y="10800"/>
                  </a:lnTo>
                  <a:lnTo>
                    <a:pt x="20249" y="5399"/>
                  </a:lnTo>
                  <a:cubicBezTo>
                    <a:pt x="20249" y="5399"/>
                    <a:pt x="20249" y="16198"/>
                    <a:pt x="20249" y="16198"/>
                  </a:cubicBezTo>
                  <a:close/>
                  <a:moveTo>
                    <a:pt x="20249" y="17484"/>
                  </a:moveTo>
                  <a:cubicBezTo>
                    <a:pt x="20249" y="18620"/>
                    <a:pt x="19643" y="19541"/>
                    <a:pt x="18899" y="19541"/>
                  </a:cubicBezTo>
                  <a:lnTo>
                    <a:pt x="2699" y="19541"/>
                  </a:lnTo>
                  <a:cubicBezTo>
                    <a:pt x="1955" y="19541"/>
                    <a:pt x="1349" y="18620"/>
                    <a:pt x="1349" y="17484"/>
                  </a:cubicBezTo>
                  <a:lnTo>
                    <a:pt x="6636" y="11442"/>
                  </a:lnTo>
                  <a:lnTo>
                    <a:pt x="9585" y="14813"/>
                  </a:lnTo>
                  <a:cubicBezTo>
                    <a:pt x="9945" y="15222"/>
                    <a:pt x="10372" y="15429"/>
                    <a:pt x="10800" y="15429"/>
                  </a:cubicBezTo>
                  <a:cubicBezTo>
                    <a:pt x="11228" y="15429"/>
                    <a:pt x="11654" y="15222"/>
                    <a:pt x="12015" y="14813"/>
                  </a:cubicBezTo>
                  <a:lnTo>
                    <a:pt x="14963" y="11442"/>
                  </a:lnTo>
                  <a:cubicBezTo>
                    <a:pt x="14963" y="11442"/>
                    <a:pt x="20249" y="17484"/>
                    <a:pt x="20249" y="17484"/>
                  </a:cubicBezTo>
                  <a:close/>
                  <a:moveTo>
                    <a:pt x="1349" y="5399"/>
                  </a:moveTo>
                  <a:lnTo>
                    <a:pt x="6074" y="10800"/>
                  </a:lnTo>
                  <a:lnTo>
                    <a:pt x="1349" y="16198"/>
                  </a:lnTo>
                  <a:cubicBezTo>
                    <a:pt x="1349" y="16198"/>
                    <a:pt x="1349" y="5399"/>
                    <a:pt x="1349" y="5399"/>
                  </a:cubicBezTo>
                  <a:close/>
                  <a:moveTo>
                    <a:pt x="18899" y="0"/>
                  </a:moveTo>
                  <a:lnTo>
                    <a:pt x="2699" y="0"/>
                  </a:lnTo>
                  <a:cubicBezTo>
                    <a:pt x="1208" y="0"/>
                    <a:pt x="0" y="1842"/>
                    <a:pt x="0" y="4114"/>
                  </a:cubicBezTo>
                  <a:lnTo>
                    <a:pt x="0" y="17484"/>
                  </a:lnTo>
                  <a:cubicBezTo>
                    <a:pt x="0" y="19756"/>
                    <a:pt x="1208" y="21600"/>
                    <a:pt x="2699" y="21600"/>
                  </a:cubicBezTo>
                  <a:lnTo>
                    <a:pt x="18899" y="21600"/>
                  </a:lnTo>
                  <a:cubicBezTo>
                    <a:pt x="20391" y="21600"/>
                    <a:pt x="21600" y="19756"/>
                    <a:pt x="21600" y="17484"/>
                  </a:cubicBezTo>
                  <a:lnTo>
                    <a:pt x="21600" y="4114"/>
                  </a:lnTo>
                  <a:cubicBezTo>
                    <a:pt x="21600" y="1842"/>
                    <a:pt x="20391" y="0"/>
                    <a:pt x="1889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38100" tIns="38100" rIns="38100" bIns="38100" anchor="ctr"/>
            <a:lstStyle/>
            <a:p>
              <a:pPr defTabSz="6095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endParaRPr>
            </a:p>
          </p:txBody>
        </p:sp>
        <p:sp>
          <p:nvSpPr>
            <p:cNvPr id="57" name="TextBox 26">
              <a:extLst>
                <a:ext uri="{FF2B5EF4-FFF2-40B4-BE49-F238E27FC236}">
                  <a16:creationId xmlns:a16="http://schemas.microsoft.com/office/drawing/2014/main" id="{C0052D24-C83A-4F42-BD37-DBFAE5701E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6881" y="4402464"/>
              <a:ext cx="1295400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 err="1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info@mdic.org</a:t>
              </a:r>
              <a:endParaRPr lang="en-US" sz="1467" b="1" dirty="0">
                <a:solidFill>
                  <a:srgbClr val="005CA8"/>
                </a:solidFill>
                <a:latin typeface="+mn-lt"/>
                <a:cs typeface="Open Sans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04B6B7B-AED7-F24D-B3C0-DED5A645971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" y="5873487"/>
            <a:ext cx="3069167" cy="990599"/>
            <a:chOff x="-15244" y="4171948"/>
            <a:chExt cx="2301244" cy="742952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F67E2D5-55B4-E94F-AC3B-95BD0AE33015}"/>
                </a:ext>
              </a:extLst>
            </p:cNvPr>
            <p:cNvSpPr/>
            <p:nvPr/>
          </p:nvSpPr>
          <p:spPr>
            <a:xfrm>
              <a:off x="627" y="4171948"/>
              <a:ext cx="2285373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0FAFD80A-50F5-0E4F-909B-4E39710C4E5A}"/>
                </a:ext>
              </a:extLst>
            </p:cNvPr>
            <p:cNvSpPr/>
            <p:nvPr/>
          </p:nvSpPr>
          <p:spPr>
            <a:xfrm>
              <a:off x="-15244" y="4171948"/>
              <a:ext cx="685612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93E755E-675E-654E-B9AE-21F9C429A75A}"/>
                </a:ext>
              </a:extLst>
            </p:cNvPr>
            <p:cNvGrpSpPr/>
            <p:nvPr/>
          </p:nvGrpSpPr>
          <p:grpSpPr>
            <a:xfrm>
              <a:off x="190309" y="4360087"/>
              <a:ext cx="274694" cy="366676"/>
              <a:chOff x="404768" y="3500004"/>
              <a:chExt cx="274694" cy="366676"/>
            </a:xfrm>
            <a:solidFill>
              <a:schemeClr val="bg1"/>
            </a:solidFill>
          </p:grpSpPr>
          <p:sp>
            <p:nvSpPr>
              <p:cNvPr id="63" name="AutoShape 108">
                <a:extLst>
                  <a:ext uri="{FF2B5EF4-FFF2-40B4-BE49-F238E27FC236}">
                    <a16:creationId xmlns:a16="http://schemas.microsoft.com/office/drawing/2014/main" id="{E02883B3-4DA1-0B4B-9209-8E6B261F8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972" y="3568834"/>
                <a:ext cx="137660" cy="13766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800"/>
                    </a:moveTo>
                    <a:cubicBezTo>
                      <a:pt x="15764" y="1800"/>
                      <a:pt x="19800" y="5835"/>
                      <a:pt x="19800" y="10800"/>
                    </a:cubicBezTo>
                    <a:cubicBezTo>
                      <a:pt x="19800" y="15764"/>
                      <a:pt x="15764" y="19800"/>
                      <a:pt x="10800" y="19800"/>
                    </a:cubicBezTo>
                    <a:cubicBezTo>
                      <a:pt x="5835" y="19800"/>
                      <a:pt x="1800" y="15764"/>
                      <a:pt x="1800" y="10800"/>
                    </a:cubicBezTo>
                    <a:cubicBezTo>
                      <a:pt x="1800" y="5835"/>
                      <a:pt x="5835" y="1800"/>
                      <a:pt x="10800" y="1800"/>
                    </a:cubicBezTo>
                    <a:moveTo>
                      <a:pt x="10800" y="21599"/>
                    </a:moveTo>
                    <a:cubicBezTo>
                      <a:pt x="16756" y="21599"/>
                      <a:pt x="21600" y="16756"/>
                      <a:pt x="21600" y="10800"/>
                    </a:cubicBezTo>
                    <a:cubicBezTo>
                      <a:pt x="21600" y="4843"/>
                      <a:pt x="16756" y="0"/>
                      <a:pt x="10800" y="0"/>
                    </a:cubicBezTo>
                    <a:cubicBezTo>
                      <a:pt x="4843" y="0"/>
                      <a:pt x="0" y="4843"/>
                      <a:pt x="0" y="10800"/>
                    </a:cubicBezTo>
                    <a:cubicBezTo>
                      <a:pt x="0" y="16756"/>
                      <a:pt x="4843" y="21599"/>
                      <a:pt x="10800" y="21599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64" name="AutoShape 109">
                <a:extLst>
                  <a:ext uri="{FF2B5EF4-FFF2-40B4-BE49-F238E27FC236}">
                    <a16:creationId xmlns:a16="http://schemas.microsoft.com/office/drawing/2014/main" id="{5531D04A-A1A8-0043-8D91-9530FF074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768" y="3500004"/>
                <a:ext cx="274694" cy="3666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904" y="20170"/>
                    </a:moveTo>
                    <a:cubicBezTo>
                      <a:pt x="10885" y="20184"/>
                      <a:pt x="10830" y="20215"/>
                      <a:pt x="10782" y="20237"/>
                    </a:cubicBezTo>
                    <a:cubicBezTo>
                      <a:pt x="10774" y="20218"/>
                      <a:pt x="10707" y="20178"/>
                      <a:pt x="10666" y="20147"/>
                    </a:cubicBezTo>
                    <a:cubicBezTo>
                      <a:pt x="7368" y="17300"/>
                      <a:pt x="1799" y="12497"/>
                      <a:pt x="1799" y="8101"/>
                    </a:cubicBezTo>
                    <a:cubicBezTo>
                      <a:pt x="1799" y="4378"/>
                      <a:pt x="5838" y="1350"/>
                      <a:pt x="10800" y="1350"/>
                    </a:cubicBezTo>
                    <a:cubicBezTo>
                      <a:pt x="15762" y="1350"/>
                      <a:pt x="19800" y="4378"/>
                      <a:pt x="19800" y="8101"/>
                    </a:cubicBezTo>
                    <a:cubicBezTo>
                      <a:pt x="19800" y="12497"/>
                      <a:pt x="14231" y="17300"/>
                      <a:pt x="10904" y="20170"/>
                    </a:cubicBezTo>
                    <a:moveTo>
                      <a:pt x="10800" y="0"/>
                    </a:moveTo>
                    <a:cubicBezTo>
                      <a:pt x="4844" y="0"/>
                      <a:pt x="0" y="3588"/>
                      <a:pt x="0" y="8101"/>
                    </a:cubicBezTo>
                    <a:cubicBezTo>
                      <a:pt x="0" y="12826"/>
                      <a:pt x="5400" y="17660"/>
                      <a:pt x="9337" y="21056"/>
                    </a:cubicBezTo>
                    <a:cubicBezTo>
                      <a:pt x="9352" y="21070"/>
                      <a:pt x="9984" y="21599"/>
                      <a:pt x="10766" y="21599"/>
                    </a:cubicBezTo>
                    <a:lnTo>
                      <a:pt x="10834" y="21599"/>
                    </a:lnTo>
                    <a:cubicBezTo>
                      <a:pt x="11615" y="21599"/>
                      <a:pt x="12247" y="21070"/>
                      <a:pt x="12262" y="21056"/>
                    </a:cubicBezTo>
                    <a:cubicBezTo>
                      <a:pt x="16200" y="17660"/>
                      <a:pt x="21599" y="12826"/>
                      <a:pt x="21599" y="8101"/>
                    </a:cubicBezTo>
                    <a:cubicBezTo>
                      <a:pt x="21599" y="3588"/>
                      <a:pt x="16755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62" name="TextBox 27">
              <a:extLst>
                <a:ext uri="{FF2B5EF4-FFF2-40B4-BE49-F238E27FC236}">
                  <a16:creationId xmlns:a16="http://schemas.microsoft.com/office/drawing/2014/main" id="{ECC3C17C-5014-8B46-A97A-E59DBA1C7F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1921" y="4266495"/>
              <a:ext cx="1455760" cy="577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1501 Wilson Blvd.</a:t>
              </a:r>
            </a:p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Suite 910</a:t>
              </a:r>
            </a:p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Arlington, VA 22209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7272525-2325-5B40-A246-04462822F6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117167" y="5873498"/>
            <a:ext cx="3048000" cy="990601"/>
            <a:chOff x="4572000" y="4171949"/>
            <a:chExt cx="2286000" cy="742951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704C491F-2E16-A34F-8703-C60AFF4F0B59}"/>
                </a:ext>
              </a:extLst>
            </p:cNvPr>
            <p:cNvSpPr/>
            <p:nvPr/>
          </p:nvSpPr>
          <p:spPr>
            <a:xfrm>
              <a:off x="4572000" y="4171949"/>
              <a:ext cx="2286000" cy="74295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C93E859-5A84-5D4E-ACE5-55AA8424F606}"/>
                </a:ext>
              </a:extLst>
            </p:cNvPr>
            <p:cNvSpPr/>
            <p:nvPr/>
          </p:nvSpPr>
          <p:spPr>
            <a:xfrm>
              <a:off x="4572000" y="4171949"/>
              <a:ext cx="685800" cy="742951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9784FDA-4650-C34E-BD98-F7E15AC51ABC}"/>
                </a:ext>
              </a:extLst>
            </p:cNvPr>
            <p:cNvGrpSpPr/>
            <p:nvPr/>
          </p:nvGrpSpPr>
          <p:grpSpPr>
            <a:xfrm>
              <a:off x="4789128" y="4360086"/>
              <a:ext cx="251543" cy="366676"/>
              <a:chOff x="4077792" y="3500004"/>
              <a:chExt cx="251543" cy="366676"/>
            </a:xfrm>
            <a:solidFill>
              <a:schemeClr val="bg1"/>
            </a:solidFill>
          </p:grpSpPr>
          <p:sp>
            <p:nvSpPr>
              <p:cNvPr id="70" name="AutoShape 97">
                <a:extLst>
                  <a:ext uri="{FF2B5EF4-FFF2-40B4-BE49-F238E27FC236}">
                    <a16:creationId xmlns:a16="http://schemas.microsoft.com/office/drawing/2014/main" id="{66E9BB0F-4B36-5C48-BD9D-42B41B498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7792" y="3500004"/>
                <a:ext cx="251543" cy="3666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636" y="3374"/>
                    </a:moveTo>
                    <a:lnTo>
                      <a:pt x="1963" y="3375"/>
                    </a:lnTo>
                    <a:lnTo>
                      <a:pt x="1963" y="2025"/>
                    </a:lnTo>
                    <a:cubicBezTo>
                      <a:pt x="1963" y="1653"/>
                      <a:pt x="2402" y="1350"/>
                      <a:pt x="2945" y="1350"/>
                    </a:cubicBezTo>
                    <a:lnTo>
                      <a:pt x="18654" y="1349"/>
                    </a:lnTo>
                    <a:cubicBezTo>
                      <a:pt x="19195" y="1349"/>
                      <a:pt x="19636" y="1652"/>
                      <a:pt x="19636" y="2024"/>
                    </a:cubicBezTo>
                    <a:cubicBezTo>
                      <a:pt x="19636" y="2024"/>
                      <a:pt x="19636" y="3374"/>
                      <a:pt x="19636" y="3374"/>
                    </a:cubicBezTo>
                    <a:close/>
                    <a:moveTo>
                      <a:pt x="19636" y="17546"/>
                    </a:moveTo>
                    <a:lnTo>
                      <a:pt x="1963" y="17547"/>
                    </a:lnTo>
                    <a:lnTo>
                      <a:pt x="1963" y="4050"/>
                    </a:lnTo>
                    <a:lnTo>
                      <a:pt x="19636" y="4049"/>
                    </a:lnTo>
                    <a:cubicBezTo>
                      <a:pt x="19636" y="4049"/>
                      <a:pt x="19636" y="17546"/>
                      <a:pt x="19636" y="17546"/>
                    </a:cubicBezTo>
                    <a:close/>
                    <a:moveTo>
                      <a:pt x="19636" y="19574"/>
                    </a:moveTo>
                    <a:cubicBezTo>
                      <a:pt x="19636" y="19946"/>
                      <a:pt x="19195" y="20249"/>
                      <a:pt x="18654" y="20249"/>
                    </a:cubicBezTo>
                    <a:lnTo>
                      <a:pt x="2945" y="20250"/>
                    </a:lnTo>
                    <a:cubicBezTo>
                      <a:pt x="2402" y="20250"/>
                      <a:pt x="1963" y="19947"/>
                      <a:pt x="1963" y="19575"/>
                    </a:cubicBezTo>
                    <a:lnTo>
                      <a:pt x="1963" y="18222"/>
                    </a:lnTo>
                    <a:lnTo>
                      <a:pt x="19636" y="18221"/>
                    </a:lnTo>
                    <a:cubicBezTo>
                      <a:pt x="19636" y="18221"/>
                      <a:pt x="19636" y="19574"/>
                      <a:pt x="19636" y="19574"/>
                    </a:cubicBezTo>
                    <a:close/>
                    <a:moveTo>
                      <a:pt x="18654" y="0"/>
                    </a:moveTo>
                    <a:lnTo>
                      <a:pt x="2945" y="0"/>
                    </a:lnTo>
                    <a:cubicBezTo>
                      <a:pt x="1317" y="0"/>
                      <a:pt x="0" y="907"/>
                      <a:pt x="0" y="2025"/>
                    </a:cubicBezTo>
                    <a:lnTo>
                      <a:pt x="0" y="19575"/>
                    </a:lnTo>
                    <a:cubicBezTo>
                      <a:pt x="0" y="20693"/>
                      <a:pt x="1317" y="21600"/>
                      <a:pt x="2945" y="21600"/>
                    </a:cubicBezTo>
                    <a:lnTo>
                      <a:pt x="18654" y="21599"/>
                    </a:lnTo>
                    <a:cubicBezTo>
                      <a:pt x="20280" y="21599"/>
                      <a:pt x="21600" y="20693"/>
                      <a:pt x="21600" y="19574"/>
                    </a:cubicBezTo>
                    <a:lnTo>
                      <a:pt x="21600" y="2024"/>
                    </a:lnTo>
                    <a:cubicBezTo>
                      <a:pt x="21600" y="906"/>
                      <a:pt x="20280" y="0"/>
                      <a:pt x="18654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71" name="AutoShape 98">
                <a:extLst>
                  <a:ext uri="{FF2B5EF4-FFF2-40B4-BE49-F238E27FC236}">
                    <a16:creationId xmlns:a16="http://schemas.microsoft.com/office/drawing/2014/main" id="{ED89B811-8315-0A48-901A-6F47DFFF8A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0409" y="3534420"/>
                <a:ext cx="46304" cy="112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10800"/>
                    </a:moveTo>
                    <a:cubicBezTo>
                      <a:pt x="21600" y="16758"/>
                      <a:pt x="20387" y="21599"/>
                      <a:pt x="18899" y="21599"/>
                    </a:cubicBezTo>
                    <a:lnTo>
                      <a:pt x="2699" y="21599"/>
                    </a:lnTo>
                    <a:cubicBezTo>
                      <a:pt x="1202" y="21599"/>
                      <a:pt x="0" y="16758"/>
                      <a:pt x="0" y="10800"/>
                    </a:cubicBezTo>
                    <a:cubicBezTo>
                      <a:pt x="0" y="4841"/>
                      <a:pt x="1202" y="0"/>
                      <a:pt x="2699" y="0"/>
                    </a:cubicBezTo>
                    <a:lnTo>
                      <a:pt x="18899" y="0"/>
                    </a:lnTo>
                    <a:cubicBezTo>
                      <a:pt x="20387" y="0"/>
                      <a:pt x="21600" y="4841"/>
                      <a:pt x="21600" y="1080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72" name="AutoShape 99">
                <a:extLst>
                  <a:ext uri="{FF2B5EF4-FFF2-40B4-BE49-F238E27FC236}">
                    <a16:creationId xmlns:a16="http://schemas.microsoft.com/office/drawing/2014/main" id="{8FD6AFA5-67F4-E949-9DD1-F86BC7C7A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298" y="3821003"/>
                <a:ext cx="22526" cy="112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10800"/>
                    </a:moveTo>
                    <a:cubicBezTo>
                      <a:pt x="21600" y="16769"/>
                      <a:pt x="19174" y="21599"/>
                      <a:pt x="16199" y="21599"/>
                    </a:cubicBezTo>
                    <a:lnTo>
                      <a:pt x="5399" y="21599"/>
                    </a:lnTo>
                    <a:cubicBezTo>
                      <a:pt x="2404" y="21599"/>
                      <a:pt x="0" y="16769"/>
                      <a:pt x="0" y="10800"/>
                    </a:cubicBezTo>
                    <a:cubicBezTo>
                      <a:pt x="0" y="4830"/>
                      <a:pt x="2404" y="0"/>
                      <a:pt x="5399" y="0"/>
                    </a:cubicBezTo>
                    <a:lnTo>
                      <a:pt x="16199" y="0"/>
                    </a:lnTo>
                    <a:cubicBezTo>
                      <a:pt x="19174" y="0"/>
                      <a:pt x="21600" y="4830"/>
                      <a:pt x="21600" y="1080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FC47F88-FEA4-EF49-891B-DDD69B0858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000" y="4429857"/>
              <a:ext cx="1295400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202-828-1600</a:t>
              </a:r>
            </a:p>
          </p:txBody>
        </p:sp>
      </p:grpSp>
      <p:pic>
        <p:nvPicPr>
          <p:cNvPr id="73" name="Picture 72">
            <a:extLst>
              <a:ext uri="{FF2B5EF4-FFF2-40B4-BE49-F238E27FC236}">
                <a16:creationId xmlns:a16="http://schemas.microsoft.com/office/drawing/2014/main" id="{736725E3-2418-4D40-B8A9-98B1F001DB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39" y="880471"/>
            <a:ext cx="2876779" cy="125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7971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409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6926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: Specific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B7C989FB-CE9A-7041-BB05-1824B86BE1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6661" b="23942"/>
          <a:stretch/>
        </p:blipFill>
        <p:spPr>
          <a:xfrm>
            <a:off x="6" y="3291840"/>
            <a:ext cx="12213167" cy="3535680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05CB3269-C2B6-B249-8B89-9F8A8DC99CED}"/>
              </a:ext>
            </a:extLst>
          </p:cNvPr>
          <p:cNvGrpSpPr/>
          <p:nvPr userDrawn="1"/>
        </p:nvGrpSpPr>
        <p:grpSpPr>
          <a:xfrm>
            <a:off x="-1" y="-1"/>
            <a:ext cx="12192001" cy="1546524"/>
            <a:chOff x="-1" y="-1"/>
            <a:chExt cx="9144001" cy="1159893"/>
          </a:xfrm>
        </p:grpSpPr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C5CF338D-439F-0449-80E6-143C7A17E78B}"/>
                </a:ext>
              </a:extLst>
            </p:cNvPr>
            <p:cNvSpPr/>
            <p:nvPr userDrawn="1"/>
          </p:nvSpPr>
          <p:spPr>
            <a:xfrm flipH="1">
              <a:off x="-1" y="0"/>
              <a:ext cx="9143998" cy="640472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290070 w 4445636"/>
                <a:gd name="connsiteY3" fmla="*/ 215900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152399 h 817247"/>
                <a:gd name="connsiteX4" fmla="*/ 0 w 4445636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636" h="817247">
                  <a:moveTo>
                    <a:pt x="0" y="0"/>
                  </a:moveTo>
                  <a:lnTo>
                    <a:pt x="4445636" y="0"/>
                  </a:lnTo>
                  <a:lnTo>
                    <a:pt x="4445636" y="817247"/>
                  </a:lnTo>
                  <a:lnTo>
                    <a:pt x="0" y="1523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3C0D3">
                <a:alpha val="3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32B61493-0373-F540-939B-8EB85C66E81B}"/>
                </a:ext>
              </a:extLst>
            </p:cNvPr>
            <p:cNvSpPr/>
            <p:nvPr userDrawn="1"/>
          </p:nvSpPr>
          <p:spPr>
            <a:xfrm>
              <a:off x="0" y="-1"/>
              <a:ext cx="9144000" cy="1008773"/>
            </a:xfrm>
            <a:custGeom>
              <a:avLst/>
              <a:gdLst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817247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0 w 4445636"/>
                <a:gd name="connsiteY3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739445 w 4445636"/>
                <a:gd name="connsiteY3" fmla="*/ 316683 h 817247"/>
                <a:gd name="connsiteX4" fmla="*/ 0 w 4445636"/>
                <a:gd name="connsiteY4" fmla="*/ 0 h 817247"/>
                <a:gd name="connsiteX0" fmla="*/ 0 w 4445636"/>
                <a:gd name="connsiteY0" fmla="*/ 0 h 817247"/>
                <a:gd name="connsiteX1" fmla="*/ 4445636 w 4445636"/>
                <a:gd name="connsiteY1" fmla="*/ 0 h 817247"/>
                <a:gd name="connsiteX2" fmla="*/ 4445636 w 4445636"/>
                <a:gd name="connsiteY2" fmla="*/ 817247 h 817247"/>
                <a:gd name="connsiteX3" fmla="*/ 1468864 w 4445636"/>
                <a:gd name="connsiteY3" fmla="*/ 541426 h 817247"/>
                <a:gd name="connsiteX4" fmla="*/ 0 w 4445636"/>
                <a:gd name="connsiteY4" fmla="*/ 0 h 817247"/>
                <a:gd name="connsiteX0" fmla="*/ 7731 w 4453367"/>
                <a:gd name="connsiteY0" fmla="*/ 0 h 817247"/>
                <a:gd name="connsiteX1" fmla="*/ 4453367 w 4453367"/>
                <a:gd name="connsiteY1" fmla="*/ 0 h 817247"/>
                <a:gd name="connsiteX2" fmla="*/ 4453367 w 4453367"/>
                <a:gd name="connsiteY2" fmla="*/ 817247 h 817247"/>
                <a:gd name="connsiteX3" fmla="*/ 0 w 4453367"/>
                <a:gd name="connsiteY3" fmla="*/ 234959 h 817247"/>
                <a:gd name="connsiteX4" fmla="*/ 7731 w 4453367"/>
                <a:gd name="connsiteY4" fmla="*/ 0 h 81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3367" h="817247">
                  <a:moveTo>
                    <a:pt x="7731" y="0"/>
                  </a:moveTo>
                  <a:lnTo>
                    <a:pt x="4453367" y="0"/>
                  </a:lnTo>
                  <a:lnTo>
                    <a:pt x="4453367" y="817247"/>
                  </a:lnTo>
                  <a:lnTo>
                    <a:pt x="0" y="234959"/>
                  </a:lnTo>
                  <a:lnTo>
                    <a:pt x="7731" y="0"/>
                  </a:lnTo>
                  <a:close/>
                </a:path>
              </a:pathLst>
            </a:custGeom>
            <a:solidFill>
              <a:srgbClr val="D0D0D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400"/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5CA38F8-0359-AE4D-8A14-7E92AD133903}"/>
                </a:ext>
              </a:extLst>
            </p:cNvPr>
            <p:cNvCxnSpPr>
              <a:cxnSpLocks/>
              <a:endCxn id="43" idx="3"/>
            </p:cNvCxnSpPr>
            <p:nvPr userDrawn="1"/>
          </p:nvCxnSpPr>
          <p:spPr>
            <a:xfrm flipH="1" flipV="1">
              <a:off x="0" y="290022"/>
              <a:ext cx="8493263" cy="869870"/>
            </a:xfrm>
            <a:prstGeom prst="line">
              <a:avLst/>
            </a:prstGeom>
            <a:ln w="25400" cap="flat">
              <a:solidFill>
                <a:srgbClr val="D0D0D0">
                  <a:alpha val="30000"/>
                </a:srgb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6AA5B82-F4BC-DE41-8B6A-4F27A14C02E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9165167" y="5873500"/>
            <a:ext cx="3048000" cy="990602"/>
            <a:chOff x="6858000" y="4171948"/>
            <a:chExt cx="2286000" cy="742952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9DA6B50C-EA84-DF4F-948C-F3996C6A9DBD}"/>
                </a:ext>
              </a:extLst>
            </p:cNvPr>
            <p:cNvSpPr/>
            <p:nvPr/>
          </p:nvSpPr>
          <p:spPr>
            <a:xfrm>
              <a:off x="6858000" y="4171948"/>
              <a:ext cx="2286000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96F7E3EE-9E4A-6A48-A0D6-00260F59B6C2}"/>
                </a:ext>
              </a:extLst>
            </p:cNvPr>
            <p:cNvSpPr/>
            <p:nvPr/>
          </p:nvSpPr>
          <p:spPr>
            <a:xfrm>
              <a:off x="6858000" y="4171948"/>
              <a:ext cx="685800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0FE7DE5E-FAF1-0A42-B63D-3834044FC4D0}"/>
                </a:ext>
              </a:extLst>
            </p:cNvPr>
            <p:cNvGrpSpPr/>
            <p:nvPr/>
          </p:nvGrpSpPr>
          <p:grpSpPr>
            <a:xfrm>
              <a:off x="7017562" y="4371662"/>
              <a:ext cx="366676" cy="343525"/>
              <a:chOff x="4020223" y="2790429"/>
              <a:chExt cx="366676" cy="343525"/>
            </a:xfrm>
            <a:solidFill>
              <a:schemeClr val="bg1"/>
            </a:solidFill>
          </p:grpSpPr>
          <p:sp>
            <p:nvSpPr>
              <p:cNvPr id="50" name="AutoShape 110">
                <a:extLst>
                  <a:ext uri="{FF2B5EF4-FFF2-40B4-BE49-F238E27FC236}">
                    <a16:creationId xmlns:a16="http://schemas.microsoft.com/office/drawing/2014/main" id="{E799238F-D29D-254D-B3A9-07620265E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6529" y="2836108"/>
                <a:ext cx="274069" cy="1833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699" y="20255"/>
                    </a:moveTo>
                    <a:lnTo>
                      <a:pt x="899" y="20255"/>
                    </a:lnTo>
                    <a:lnTo>
                      <a:pt x="899" y="1350"/>
                    </a:lnTo>
                    <a:lnTo>
                      <a:pt x="20699" y="1350"/>
                    </a:lnTo>
                    <a:cubicBezTo>
                      <a:pt x="20699" y="1350"/>
                      <a:pt x="20699" y="20255"/>
                      <a:pt x="20699" y="20255"/>
                    </a:cubicBezTo>
                    <a:close/>
                    <a:moveTo>
                      <a:pt x="20699" y="0"/>
                    </a:moveTo>
                    <a:lnTo>
                      <a:pt x="899" y="5"/>
                    </a:lnTo>
                    <a:cubicBezTo>
                      <a:pt x="402" y="5"/>
                      <a:pt x="0" y="603"/>
                      <a:pt x="0" y="1350"/>
                    </a:cubicBezTo>
                    <a:lnTo>
                      <a:pt x="0" y="20249"/>
                    </a:lnTo>
                    <a:cubicBezTo>
                      <a:pt x="0" y="20996"/>
                      <a:pt x="402" y="21599"/>
                      <a:pt x="899" y="21599"/>
                    </a:cubicBezTo>
                    <a:lnTo>
                      <a:pt x="20699" y="21599"/>
                    </a:lnTo>
                    <a:cubicBezTo>
                      <a:pt x="21197" y="21599"/>
                      <a:pt x="21600" y="20996"/>
                      <a:pt x="21600" y="20249"/>
                    </a:cubicBezTo>
                    <a:lnTo>
                      <a:pt x="21600" y="1350"/>
                    </a:lnTo>
                    <a:cubicBezTo>
                      <a:pt x="21600" y="603"/>
                      <a:pt x="21197" y="0"/>
                      <a:pt x="20699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51" name="AutoShape 111">
                <a:extLst>
                  <a:ext uri="{FF2B5EF4-FFF2-40B4-BE49-F238E27FC236}">
                    <a16:creationId xmlns:a16="http://schemas.microsoft.com/office/drawing/2014/main" id="{888F8662-6DFB-1F4D-88C0-9DEDC8B54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0223" y="2790429"/>
                <a:ext cx="366676" cy="343525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0249" y="16562"/>
                    </a:moveTo>
                    <a:cubicBezTo>
                      <a:pt x="20249" y="16959"/>
                      <a:pt x="19946" y="17282"/>
                      <a:pt x="19575" y="17282"/>
                    </a:cubicBezTo>
                    <a:lnTo>
                      <a:pt x="13499" y="17282"/>
                    </a:lnTo>
                    <a:lnTo>
                      <a:pt x="8099" y="17282"/>
                    </a:lnTo>
                    <a:lnTo>
                      <a:pt x="2024" y="17282"/>
                    </a:lnTo>
                    <a:cubicBezTo>
                      <a:pt x="1651" y="17282"/>
                      <a:pt x="1349" y="16959"/>
                      <a:pt x="1349" y="16562"/>
                    </a:cubicBezTo>
                    <a:lnTo>
                      <a:pt x="1349" y="2160"/>
                    </a:lnTo>
                    <a:cubicBezTo>
                      <a:pt x="1349" y="1762"/>
                      <a:pt x="1651" y="1440"/>
                      <a:pt x="2024" y="1440"/>
                    </a:cubicBezTo>
                    <a:lnTo>
                      <a:pt x="19575" y="1440"/>
                    </a:lnTo>
                    <a:cubicBezTo>
                      <a:pt x="19946" y="1440"/>
                      <a:pt x="20249" y="1762"/>
                      <a:pt x="20249" y="2160"/>
                    </a:cubicBezTo>
                    <a:cubicBezTo>
                      <a:pt x="20249" y="2160"/>
                      <a:pt x="20249" y="16562"/>
                      <a:pt x="20249" y="16562"/>
                    </a:cubicBezTo>
                    <a:close/>
                    <a:moveTo>
                      <a:pt x="19575" y="0"/>
                    </a:moveTo>
                    <a:lnTo>
                      <a:pt x="2024" y="0"/>
                    </a:lnTo>
                    <a:cubicBezTo>
                      <a:pt x="905" y="0"/>
                      <a:pt x="0" y="966"/>
                      <a:pt x="0" y="2160"/>
                    </a:cubicBezTo>
                    <a:lnTo>
                      <a:pt x="0" y="16562"/>
                    </a:lnTo>
                    <a:cubicBezTo>
                      <a:pt x="0" y="17753"/>
                      <a:pt x="903" y="18718"/>
                      <a:pt x="2018" y="18721"/>
                    </a:cubicBezTo>
                    <a:lnTo>
                      <a:pt x="8774" y="18721"/>
                    </a:lnTo>
                    <a:lnTo>
                      <a:pt x="8774" y="19597"/>
                    </a:lnTo>
                    <a:lnTo>
                      <a:pt x="4561" y="20181"/>
                    </a:lnTo>
                    <a:cubicBezTo>
                      <a:pt x="4260" y="20262"/>
                      <a:pt x="4049" y="20549"/>
                      <a:pt x="4049" y="20879"/>
                    </a:cubicBezTo>
                    <a:cubicBezTo>
                      <a:pt x="4049" y="21277"/>
                      <a:pt x="4351" y="21599"/>
                      <a:pt x="4724" y="21599"/>
                    </a:cubicBezTo>
                    <a:lnTo>
                      <a:pt x="16874" y="21599"/>
                    </a:lnTo>
                    <a:cubicBezTo>
                      <a:pt x="17248" y="21599"/>
                      <a:pt x="17549" y="21277"/>
                      <a:pt x="17549" y="20879"/>
                    </a:cubicBezTo>
                    <a:cubicBezTo>
                      <a:pt x="17549" y="20549"/>
                      <a:pt x="17339" y="20262"/>
                      <a:pt x="17038" y="20181"/>
                    </a:cubicBezTo>
                    <a:lnTo>
                      <a:pt x="12824" y="19597"/>
                    </a:lnTo>
                    <a:lnTo>
                      <a:pt x="12824" y="18721"/>
                    </a:lnTo>
                    <a:lnTo>
                      <a:pt x="19581" y="18721"/>
                    </a:lnTo>
                    <a:cubicBezTo>
                      <a:pt x="20696" y="18718"/>
                      <a:pt x="21600" y="17753"/>
                      <a:pt x="21600" y="16562"/>
                    </a:cubicBezTo>
                    <a:lnTo>
                      <a:pt x="21600" y="2160"/>
                    </a:lnTo>
                    <a:cubicBezTo>
                      <a:pt x="21600" y="966"/>
                      <a:pt x="20692" y="0"/>
                      <a:pt x="19575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F41B6933-B00F-C14A-B5BB-1D9026E63C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12838" y="4401630"/>
              <a:ext cx="1295400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 err="1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www.mdic.org</a:t>
              </a:r>
              <a:endParaRPr lang="en-US" sz="1467" b="1" dirty="0">
                <a:solidFill>
                  <a:srgbClr val="005CA8"/>
                </a:solidFill>
                <a:latin typeface="+mn-lt"/>
                <a:cs typeface="Open Sans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3336AB2-E487-0448-946A-04C110BCD28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69167" y="5873498"/>
            <a:ext cx="3048000" cy="990601"/>
            <a:chOff x="2286000" y="4171948"/>
            <a:chExt cx="2286000" cy="74295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3C49C24-2EAB-9846-AE05-AB6319E6112F}"/>
                </a:ext>
              </a:extLst>
            </p:cNvPr>
            <p:cNvSpPr/>
            <p:nvPr/>
          </p:nvSpPr>
          <p:spPr>
            <a:xfrm>
              <a:off x="2286000" y="4171948"/>
              <a:ext cx="2286000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25284F2-8533-8F41-83B7-534C09B310F3}"/>
                </a:ext>
              </a:extLst>
            </p:cNvPr>
            <p:cNvSpPr/>
            <p:nvPr/>
          </p:nvSpPr>
          <p:spPr>
            <a:xfrm>
              <a:off x="2286000" y="4171948"/>
              <a:ext cx="685800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55" name="AutoShape 83">
              <a:extLst>
                <a:ext uri="{FF2B5EF4-FFF2-40B4-BE49-F238E27FC236}">
                  <a16:creationId xmlns:a16="http://schemas.microsoft.com/office/drawing/2014/main" id="{6AE0C2D1-E8D5-514A-A31A-87340818C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6338" y="4422774"/>
              <a:ext cx="365125" cy="24130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1610" y="13990"/>
                  </a:moveTo>
                  <a:cubicBezTo>
                    <a:pt x="11373" y="14259"/>
                    <a:pt x="11093" y="14400"/>
                    <a:pt x="10800" y="14400"/>
                  </a:cubicBezTo>
                  <a:cubicBezTo>
                    <a:pt x="10505" y="14400"/>
                    <a:pt x="10225" y="14259"/>
                    <a:pt x="9990" y="13990"/>
                  </a:cubicBezTo>
                  <a:lnTo>
                    <a:pt x="7198" y="10800"/>
                  </a:lnTo>
                  <a:lnTo>
                    <a:pt x="6636" y="10157"/>
                  </a:lnTo>
                  <a:lnTo>
                    <a:pt x="1349" y="4115"/>
                  </a:lnTo>
                  <a:lnTo>
                    <a:pt x="1349" y="4114"/>
                  </a:lnTo>
                  <a:cubicBezTo>
                    <a:pt x="1349" y="2980"/>
                    <a:pt x="1955" y="2057"/>
                    <a:pt x="2699" y="2057"/>
                  </a:cubicBezTo>
                  <a:lnTo>
                    <a:pt x="18899" y="2057"/>
                  </a:lnTo>
                  <a:cubicBezTo>
                    <a:pt x="19643" y="2057"/>
                    <a:pt x="20249" y="2980"/>
                    <a:pt x="20249" y="4114"/>
                  </a:cubicBezTo>
                  <a:cubicBezTo>
                    <a:pt x="20249" y="4114"/>
                    <a:pt x="11610" y="13990"/>
                    <a:pt x="11610" y="13990"/>
                  </a:cubicBezTo>
                  <a:close/>
                  <a:moveTo>
                    <a:pt x="20249" y="16198"/>
                  </a:moveTo>
                  <a:lnTo>
                    <a:pt x="15525" y="10800"/>
                  </a:lnTo>
                  <a:lnTo>
                    <a:pt x="20249" y="5399"/>
                  </a:lnTo>
                  <a:cubicBezTo>
                    <a:pt x="20249" y="5399"/>
                    <a:pt x="20249" y="16198"/>
                    <a:pt x="20249" y="16198"/>
                  </a:cubicBezTo>
                  <a:close/>
                  <a:moveTo>
                    <a:pt x="20249" y="17484"/>
                  </a:moveTo>
                  <a:cubicBezTo>
                    <a:pt x="20249" y="18620"/>
                    <a:pt x="19643" y="19541"/>
                    <a:pt x="18899" y="19541"/>
                  </a:cubicBezTo>
                  <a:lnTo>
                    <a:pt x="2699" y="19541"/>
                  </a:lnTo>
                  <a:cubicBezTo>
                    <a:pt x="1955" y="19541"/>
                    <a:pt x="1349" y="18620"/>
                    <a:pt x="1349" y="17484"/>
                  </a:cubicBezTo>
                  <a:lnTo>
                    <a:pt x="6636" y="11442"/>
                  </a:lnTo>
                  <a:lnTo>
                    <a:pt x="9585" y="14813"/>
                  </a:lnTo>
                  <a:cubicBezTo>
                    <a:pt x="9945" y="15222"/>
                    <a:pt x="10372" y="15429"/>
                    <a:pt x="10800" y="15429"/>
                  </a:cubicBezTo>
                  <a:cubicBezTo>
                    <a:pt x="11228" y="15429"/>
                    <a:pt x="11654" y="15222"/>
                    <a:pt x="12015" y="14813"/>
                  </a:cubicBezTo>
                  <a:lnTo>
                    <a:pt x="14963" y="11442"/>
                  </a:lnTo>
                  <a:cubicBezTo>
                    <a:pt x="14963" y="11442"/>
                    <a:pt x="20249" y="17484"/>
                    <a:pt x="20249" y="17484"/>
                  </a:cubicBezTo>
                  <a:close/>
                  <a:moveTo>
                    <a:pt x="1349" y="5399"/>
                  </a:moveTo>
                  <a:lnTo>
                    <a:pt x="6074" y="10800"/>
                  </a:lnTo>
                  <a:lnTo>
                    <a:pt x="1349" y="16198"/>
                  </a:lnTo>
                  <a:cubicBezTo>
                    <a:pt x="1349" y="16198"/>
                    <a:pt x="1349" y="5399"/>
                    <a:pt x="1349" y="5399"/>
                  </a:cubicBezTo>
                  <a:close/>
                  <a:moveTo>
                    <a:pt x="18899" y="0"/>
                  </a:moveTo>
                  <a:lnTo>
                    <a:pt x="2699" y="0"/>
                  </a:lnTo>
                  <a:cubicBezTo>
                    <a:pt x="1208" y="0"/>
                    <a:pt x="0" y="1842"/>
                    <a:pt x="0" y="4114"/>
                  </a:cubicBezTo>
                  <a:lnTo>
                    <a:pt x="0" y="17484"/>
                  </a:lnTo>
                  <a:cubicBezTo>
                    <a:pt x="0" y="19756"/>
                    <a:pt x="1208" y="21600"/>
                    <a:pt x="2699" y="21600"/>
                  </a:cubicBezTo>
                  <a:lnTo>
                    <a:pt x="18899" y="21600"/>
                  </a:lnTo>
                  <a:cubicBezTo>
                    <a:pt x="20391" y="21600"/>
                    <a:pt x="21600" y="19756"/>
                    <a:pt x="21600" y="17484"/>
                  </a:cubicBezTo>
                  <a:lnTo>
                    <a:pt x="21600" y="4114"/>
                  </a:lnTo>
                  <a:cubicBezTo>
                    <a:pt x="21600" y="1842"/>
                    <a:pt x="20391" y="0"/>
                    <a:pt x="18899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lIns="38100" tIns="38100" rIns="38100" bIns="38100" anchor="ctr"/>
            <a:lstStyle/>
            <a:p>
              <a:pPr defTabSz="60958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40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endParaRPr>
            </a:p>
          </p:txBody>
        </p:sp>
        <p:sp>
          <p:nvSpPr>
            <p:cNvPr id="56" name="TextBox 26">
              <a:extLst>
                <a:ext uri="{FF2B5EF4-FFF2-40B4-BE49-F238E27FC236}">
                  <a16:creationId xmlns:a16="http://schemas.microsoft.com/office/drawing/2014/main" id="{C303F2C2-E16B-9249-AFE9-EA0B8DD000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26881" y="4402464"/>
              <a:ext cx="1545118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 err="1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name@mdic.org</a:t>
              </a:r>
              <a:endParaRPr lang="en-US" sz="1467" b="1" dirty="0">
                <a:solidFill>
                  <a:srgbClr val="005CA8"/>
                </a:solidFill>
                <a:latin typeface="+mn-lt"/>
                <a:cs typeface="Open Sans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0A3DA074-50C7-554E-B497-5C2A7C834F6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" y="5873487"/>
            <a:ext cx="3069167" cy="990599"/>
            <a:chOff x="-15244" y="4171948"/>
            <a:chExt cx="2301244" cy="74295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3698A65-493C-0341-AE1D-FBAD416D6E05}"/>
                </a:ext>
              </a:extLst>
            </p:cNvPr>
            <p:cNvSpPr/>
            <p:nvPr/>
          </p:nvSpPr>
          <p:spPr>
            <a:xfrm>
              <a:off x="627" y="4171948"/>
              <a:ext cx="2285373" cy="74295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986AF76-D37D-0644-9D66-2A4CB0443873}"/>
                </a:ext>
              </a:extLst>
            </p:cNvPr>
            <p:cNvSpPr/>
            <p:nvPr/>
          </p:nvSpPr>
          <p:spPr>
            <a:xfrm>
              <a:off x="-15244" y="4171948"/>
              <a:ext cx="685612" cy="742952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E791E7E-84D0-6B4A-B43E-9D4E2DAAB4FB}"/>
                </a:ext>
              </a:extLst>
            </p:cNvPr>
            <p:cNvGrpSpPr/>
            <p:nvPr/>
          </p:nvGrpSpPr>
          <p:grpSpPr>
            <a:xfrm>
              <a:off x="190309" y="4360087"/>
              <a:ext cx="274694" cy="366676"/>
              <a:chOff x="404768" y="3500004"/>
              <a:chExt cx="274694" cy="366676"/>
            </a:xfrm>
            <a:solidFill>
              <a:schemeClr val="bg1"/>
            </a:solidFill>
          </p:grpSpPr>
          <p:sp>
            <p:nvSpPr>
              <p:cNvPr id="62" name="AutoShape 108">
                <a:extLst>
                  <a:ext uri="{FF2B5EF4-FFF2-40B4-BE49-F238E27FC236}">
                    <a16:creationId xmlns:a16="http://schemas.microsoft.com/office/drawing/2014/main" id="{F9288F79-B2D4-E641-A51A-2715D8F1A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972" y="3568834"/>
                <a:ext cx="137660" cy="13766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800"/>
                    </a:moveTo>
                    <a:cubicBezTo>
                      <a:pt x="15764" y="1800"/>
                      <a:pt x="19800" y="5835"/>
                      <a:pt x="19800" y="10800"/>
                    </a:cubicBezTo>
                    <a:cubicBezTo>
                      <a:pt x="19800" y="15764"/>
                      <a:pt x="15764" y="19800"/>
                      <a:pt x="10800" y="19800"/>
                    </a:cubicBezTo>
                    <a:cubicBezTo>
                      <a:pt x="5835" y="19800"/>
                      <a:pt x="1800" y="15764"/>
                      <a:pt x="1800" y="10800"/>
                    </a:cubicBezTo>
                    <a:cubicBezTo>
                      <a:pt x="1800" y="5835"/>
                      <a:pt x="5835" y="1800"/>
                      <a:pt x="10800" y="1800"/>
                    </a:cubicBezTo>
                    <a:moveTo>
                      <a:pt x="10800" y="21599"/>
                    </a:moveTo>
                    <a:cubicBezTo>
                      <a:pt x="16756" y="21599"/>
                      <a:pt x="21600" y="16756"/>
                      <a:pt x="21600" y="10800"/>
                    </a:cubicBezTo>
                    <a:cubicBezTo>
                      <a:pt x="21600" y="4843"/>
                      <a:pt x="16756" y="0"/>
                      <a:pt x="10800" y="0"/>
                    </a:cubicBezTo>
                    <a:cubicBezTo>
                      <a:pt x="4843" y="0"/>
                      <a:pt x="0" y="4843"/>
                      <a:pt x="0" y="10800"/>
                    </a:cubicBezTo>
                    <a:cubicBezTo>
                      <a:pt x="0" y="16756"/>
                      <a:pt x="4843" y="21599"/>
                      <a:pt x="10800" y="21599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63" name="AutoShape 109">
                <a:extLst>
                  <a:ext uri="{FF2B5EF4-FFF2-40B4-BE49-F238E27FC236}">
                    <a16:creationId xmlns:a16="http://schemas.microsoft.com/office/drawing/2014/main" id="{7F4D33D1-902A-764C-B981-01EDED9BF1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768" y="3500004"/>
                <a:ext cx="274694" cy="3666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904" y="20170"/>
                    </a:moveTo>
                    <a:cubicBezTo>
                      <a:pt x="10885" y="20184"/>
                      <a:pt x="10830" y="20215"/>
                      <a:pt x="10782" y="20237"/>
                    </a:cubicBezTo>
                    <a:cubicBezTo>
                      <a:pt x="10774" y="20218"/>
                      <a:pt x="10707" y="20178"/>
                      <a:pt x="10666" y="20147"/>
                    </a:cubicBezTo>
                    <a:cubicBezTo>
                      <a:pt x="7368" y="17300"/>
                      <a:pt x="1799" y="12497"/>
                      <a:pt x="1799" y="8101"/>
                    </a:cubicBezTo>
                    <a:cubicBezTo>
                      <a:pt x="1799" y="4378"/>
                      <a:pt x="5838" y="1350"/>
                      <a:pt x="10800" y="1350"/>
                    </a:cubicBezTo>
                    <a:cubicBezTo>
                      <a:pt x="15762" y="1350"/>
                      <a:pt x="19800" y="4378"/>
                      <a:pt x="19800" y="8101"/>
                    </a:cubicBezTo>
                    <a:cubicBezTo>
                      <a:pt x="19800" y="12497"/>
                      <a:pt x="14231" y="17300"/>
                      <a:pt x="10904" y="20170"/>
                    </a:cubicBezTo>
                    <a:moveTo>
                      <a:pt x="10800" y="0"/>
                    </a:moveTo>
                    <a:cubicBezTo>
                      <a:pt x="4844" y="0"/>
                      <a:pt x="0" y="3588"/>
                      <a:pt x="0" y="8101"/>
                    </a:cubicBezTo>
                    <a:cubicBezTo>
                      <a:pt x="0" y="12826"/>
                      <a:pt x="5400" y="17660"/>
                      <a:pt x="9337" y="21056"/>
                    </a:cubicBezTo>
                    <a:cubicBezTo>
                      <a:pt x="9352" y="21070"/>
                      <a:pt x="9984" y="21599"/>
                      <a:pt x="10766" y="21599"/>
                    </a:cubicBezTo>
                    <a:lnTo>
                      <a:pt x="10834" y="21599"/>
                    </a:lnTo>
                    <a:cubicBezTo>
                      <a:pt x="11615" y="21599"/>
                      <a:pt x="12247" y="21070"/>
                      <a:pt x="12262" y="21056"/>
                    </a:cubicBezTo>
                    <a:cubicBezTo>
                      <a:pt x="16200" y="17660"/>
                      <a:pt x="21599" y="12826"/>
                      <a:pt x="21599" y="8101"/>
                    </a:cubicBezTo>
                    <a:cubicBezTo>
                      <a:pt x="21599" y="3588"/>
                      <a:pt x="16755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61" name="TextBox 27">
              <a:extLst>
                <a:ext uri="{FF2B5EF4-FFF2-40B4-BE49-F238E27FC236}">
                  <a16:creationId xmlns:a16="http://schemas.microsoft.com/office/drawing/2014/main" id="{D00DDDED-A6EC-4E45-8268-130CFF4946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1921" y="4266495"/>
              <a:ext cx="1455760" cy="577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1501 Wilson Blvd.</a:t>
              </a:r>
            </a:p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Suite 910</a:t>
              </a:r>
            </a:p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Arlington, VA 22209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173775E0-00E6-674A-8C87-C19AEEF1B09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117167" y="5873498"/>
            <a:ext cx="3048000" cy="990601"/>
            <a:chOff x="4572000" y="4171949"/>
            <a:chExt cx="2286000" cy="742951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AA3A4F1-3968-5140-9DF8-A0710B1E76A5}"/>
                </a:ext>
              </a:extLst>
            </p:cNvPr>
            <p:cNvSpPr/>
            <p:nvPr/>
          </p:nvSpPr>
          <p:spPr>
            <a:xfrm>
              <a:off x="4572000" y="4171949"/>
              <a:ext cx="2286000" cy="74295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4A5D780-4793-0046-9936-E96AF1F70EF4}"/>
                </a:ext>
              </a:extLst>
            </p:cNvPr>
            <p:cNvSpPr/>
            <p:nvPr/>
          </p:nvSpPr>
          <p:spPr>
            <a:xfrm>
              <a:off x="4572000" y="4171949"/>
              <a:ext cx="685800" cy="742951"/>
            </a:xfrm>
            <a:prstGeom prst="rect">
              <a:avLst/>
            </a:prstGeom>
            <a:solidFill>
              <a:srgbClr val="005C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b="1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2F013644-4061-314C-BDED-071B49D4B84F}"/>
                </a:ext>
              </a:extLst>
            </p:cNvPr>
            <p:cNvGrpSpPr/>
            <p:nvPr/>
          </p:nvGrpSpPr>
          <p:grpSpPr>
            <a:xfrm>
              <a:off x="4789128" y="4360086"/>
              <a:ext cx="251543" cy="366676"/>
              <a:chOff x="4077792" y="3500004"/>
              <a:chExt cx="251543" cy="366676"/>
            </a:xfrm>
            <a:solidFill>
              <a:schemeClr val="bg1"/>
            </a:solidFill>
          </p:grpSpPr>
          <p:sp>
            <p:nvSpPr>
              <p:cNvPr id="69" name="AutoShape 97">
                <a:extLst>
                  <a:ext uri="{FF2B5EF4-FFF2-40B4-BE49-F238E27FC236}">
                    <a16:creationId xmlns:a16="http://schemas.microsoft.com/office/drawing/2014/main" id="{0D0E53E9-8AEB-0A4B-B75D-252EA7276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7792" y="3500004"/>
                <a:ext cx="251543" cy="36667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636" y="3374"/>
                    </a:moveTo>
                    <a:lnTo>
                      <a:pt x="1963" y="3375"/>
                    </a:lnTo>
                    <a:lnTo>
                      <a:pt x="1963" y="2025"/>
                    </a:lnTo>
                    <a:cubicBezTo>
                      <a:pt x="1963" y="1653"/>
                      <a:pt x="2402" y="1350"/>
                      <a:pt x="2945" y="1350"/>
                    </a:cubicBezTo>
                    <a:lnTo>
                      <a:pt x="18654" y="1349"/>
                    </a:lnTo>
                    <a:cubicBezTo>
                      <a:pt x="19195" y="1349"/>
                      <a:pt x="19636" y="1652"/>
                      <a:pt x="19636" y="2024"/>
                    </a:cubicBezTo>
                    <a:cubicBezTo>
                      <a:pt x="19636" y="2024"/>
                      <a:pt x="19636" y="3374"/>
                      <a:pt x="19636" y="3374"/>
                    </a:cubicBezTo>
                    <a:close/>
                    <a:moveTo>
                      <a:pt x="19636" y="17546"/>
                    </a:moveTo>
                    <a:lnTo>
                      <a:pt x="1963" y="17547"/>
                    </a:lnTo>
                    <a:lnTo>
                      <a:pt x="1963" y="4050"/>
                    </a:lnTo>
                    <a:lnTo>
                      <a:pt x="19636" y="4049"/>
                    </a:lnTo>
                    <a:cubicBezTo>
                      <a:pt x="19636" y="4049"/>
                      <a:pt x="19636" y="17546"/>
                      <a:pt x="19636" y="17546"/>
                    </a:cubicBezTo>
                    <a:close/>
                    <a:moveTo>
                      <a:pt x="19636" y="19574"/>
                    </a:moveTo>
                    <a:cubicBezTo>
                      <a:pt x="19636" y="19946"/>
                      <a:pt x="19195" y="20249"/>
                      <a:pt x="18654" y="20249"/>
                    </a:cubicBezTo>
                    <a:lnTo>
                      <a:pt x="2945" y="20250"/>
                    </a:lnTo>
                    <a:cubicBezTo>
                      <a:pt x="2402" y="20250"/>
                      <a:pt x="1963" y="19947"/>
                      <a:pt x="1963" y="19575"/>
                    </a:cubicBezTo>
                    <a:lnTo>
                      <a:pt x="1963" y="18222"/>
                    </a:lnTo>
                    <a:lnTo>
                      <a:pt x="19636" y="18221"/>
                    </a:lnTo>
                    <a:cubicBezTo>
                      <a:pt x="19636" y="18221"/>
                      <a:pt x="19636" y="19574"/>
                      <a:pt x="19636" y="19574"/>
                    </a:cubicBezTo>
                    <a:close/>
                    <a:moveTo>
                      <a:pt x="18654" y="0"/>
                    </a:moveTo>
                    <a:lnTo>
                      <a:pt x="2945" y="0"/>
                    </a:lnTo>
                    <a:cubicBezTo>
                      <a:pt x="1317" y="0"/>
                      <a:pt x="0" y="907"/>
                      <a:pt x="0" y="2025"/>
                    </a:cubicBezTo>
                    <a:lnTo>
                      <a:pt x="0" y="19575"/>
                    </a:lnTo>
                    <a:cubicBezTo>
                      <a:pt x="0" y="20693"/>
                      <a:pt x="1317" y="21600"/>
                      <a:pt x="2945" y="21600"/>
                    </a:cubicBezTo>
                    <a:lnTo>
                      <a:pt x="18654" y="21599"/>
                    </a:lnTo>
                    <a:cubicBezTo>
                      <a:pt x="20280" y="21599"/>
                      <a:pt x="21600" y="20693"/>
                      <a:pt x="21600" y="19574"/>
                    </a:cubicBezTo>
                    <a:lnTo>
                      <a:pt x="21600" y="2024"/>
                    </a:lnTo>
                    <a:cubicBezTo>
                      <a:pt x="21600" y="906"/>
                      <a:pt x="20280" y="0"/>
                      <a:pt x="18654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70" name="AutoShape 98">
                <a:extLst>
                  <a:ext uri="{FF2B5EF4-FFF2-40B4-BE49-F238E27FC236}">
                    <a16:creationId xmlns:a16="http://schemas.microsoft.com/office/drawing/2014/main" id="{AF0C3EA6-C097-4240-80F1-8074A6961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0409" y="3534420"/>
                <a:ext cx="46304" cy="112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10800"/>
                    </a:moveTo>
                    <a:cubicBezTo>
                      <a:pt x="21600" y="16758"/>
                      <a:pt x="20387" y="21599"/>
                      <a:pt x="18899" y="21599"/>
                    </a:cubicBezTo>
                    <a:lnTo>
                      <a:pt x="2699" y="21599"/>
                    </a:lnTo>
                    <a:cubicBezTo>
                      <a:pt x="1202" y="21599"/>
                      <a:pt x="0" y="16758"/>
                      <a:pt x="0" y="10800"/>
                    </a:cubicBezTo>
                    <a:cubicBezTo>
                      <a:pt x="0" y="4841"/>
                      <a:pt x="1202" y="0"/>
                      <a:pt x="2699" y="0"/>
                    </a:cubicBezTo>
                    <a:lnTo>
                      <a:pt x="18899" y="0"/>
                    </a:lnTo>
                    <a:cubicBezTo>
                      <a:pt x="20387" y="0"/>
                      <a:pt x="21600" y="4841"/>
                      <a:pt x="21600" y="1080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  <p:sp>
            <p:nvSpPr>
              <p:cNvPr id="71" name="AutoShape 99">
                <a:extLst>
                  <a:ext uri="{FF2B5EF4-FFF2-40B4-BE49-F238E27FC236}">
                    <a16:creationId xmlns:a16="http://schemas.microsoft.com/office/drawing/2014/main" id="{27E3D5F9-8263-CA42-ABB8-CC1DBA732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2298" y="3821003"/>
                <a:ext cx="22526" cy="11263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21600" y="10800"/>
                    </a:moveTo>
                    <a:cubicBezTo>
                      <a:pt x="21600" y="16769"/>
                      <a:pt x="19174" y="21599"/>
                      <a:pt x="16199" y="21599"/>
                    </a:cubicBezTo>
                    <a:lnTo>
                      <a:pt x="5399" y="21599"/>
                    </a:lnTo>
                    <a:cubicBezTo>
                      <a:pt x="2404" y="21599"/>
                      <a:pt x="0" y="16769"/>
                      <a:pt x="0" y="10800"/>
                    </a:cubicBezTo>
                    <a:cubicBezTo>
                      <a:pt x="0" y="4830"/>
                      <a:pt x="2404" y="0"/>
                      <a:pt x="5399" y="0"/>
                    </a:cubicBezTo>
                    <a:lnTo>
                      <a:pt x="16199" y="0"/>
                    </a:lnTo>
                    <a:cubicBezTo>
                      <a:pt x="19174" y="0"/>
                      <a:pt x="21600" y="4830"/>
                      <a:pt x="21600" y="1080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38100" tIns="38100" rIns="38100" bIns="38100" anchor="ctr"/>
              <a:lstStyle/>
              <a:p>
                <a:pPr defTabSz="6095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40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cs"/>
                </a:endParaRPr>
              </a:p>
            </p:txBody>
          </p:sp>
        </p:grp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31759CB3-B3AE-4545-B795-81B4DC5D80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000" y="4429857"/>
              <a:ext cx="1295400" cy="238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sz="1467" b="1" dirty="0">
                  <a:solidFill>
                    <a:srgbClr val="005CA8"/>
                  </a:solidFill>
                  <a:latin typeface="+mn-lt"/>
                  <a:cs typeface="Open Sans" pitchFamily="34" charset="0"/>
                </a:rPr>
                <a:t>202-869-1695</a:t>
              </a:r>
            </a:p>
          </p:txBody>
        </p:sp>
      </p:grpSp>
      <p:sp>
        <p:nvSpPr>
          <p:cNvPr id="72" name="Title 1">
            <a:extLst>
              <a:ext uri="{FF2B5EF4-FFF2-40B4-BE49-F238E27FC236}">
                <a16:creationId xmlns:a16="http://schemas.microsoft.com/office/drawing/2014/main" id="{CA6034C7-2AF1-2340-B383-E56DACF7A7F7}"/>
              </a:ext>
            </a:extLst>
          </p:cNvPr>
          <p:cNvSpPr txBox="1">
            <a:spLocks/>
          </p:cNvSpPr>
          <p:nvPr userDrawn="1"/>
        </p:nvSpPr>
        <p:spPr>
          <a:xfrm>
            <a:off x="914406" y="1104813"/>
            <a:ext cx="11298767" cy="16641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5067"/>
              </a:lnSpc>
            </a:pPr>
            <a:r>
              <a:rPr lang="en-US" sz="5067" b="1" dirty="0">
                <a:solidFill>
                  <a:srgbClr val="005CA8"/>
                </a:solidFill>
                <a:latin typeface="+mn-lt"/>
              </a:rPr>
              <a:t>NAME</a:t>
            </a:r>
          </a:p>
          <a:p>
            <a:pPr>
              <a:lnSpc>
                <a:spcPts val="5067"/>
              </a:lnSpc>
            </a:pPr>
            <a:r>
              <a:rPr lang="en-US" sz="5067" b="0" dirty="0">
                <a:solidFill>
                  <a:srgbClr val="005CA8"/>
                </a:solidFill>
                <a:latin typeface="+mn-lt"/>
              </a:rPr>
              <a:t>PROGRAM DIRECTOR, </a:t>
            </a:r>
          </a:p>
          <a:p>
            <a:pPr>
              <a:lnSpc>
                <a:spcPts val="5067"/>
              </a:lnSpc>
            </a:pPr>
            <a:r>
              <a:rPr lang="en-US" sz="5067" b="0" dirty="0">
                <a:solidFill>
                  <a:srgbClr val="005CA8"/>
                </a:solidFill>
                <a:latin typeface="+mn-lt"/>
              </a:rPr>
              <a:t>CLINICAL DIAGNOSTICS</a:t>
            </a:r>
          </a:p>
        </p:txBody>
      </p:sp>
    </p:spTree>
    <p:extLst>
      <p:ext uri="{BB962C8B-B14F-4D97-AF65-F5344CB8AC3E}">
        <p14:creationId xmlns:p14="http://schemas.microsoft.com/office/powerpoint/2010/main" val="34816279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8FD643-2FEF-4797-A6AE-9EAF4D9C22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23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8FD643-2FEF-4797-A6AE-9EAF4D9C2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74320" y="2743200"/>
            <a:ext cx="5095966" cy="1218795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l">
              <a:defRPr sz="4400" b="0" i="0">
                <a:solidFill>
                  <a:schemeClr val="tx1"/>
                </a:solidFill>
                <a:latin typeface="Helvetica Neue LT Std 65 Medium" charset="0"/>
                <a:ea typeface="Helvetica Neue LT Std 65 Medium" charset="0"/>
                <a:cs typeface="Helvetica Neue LT Std 65 Medium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74320" y="4287088"/>
            <a:ext cx="5095966" cy="112290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Helvetica Neue LT Std 45 Light" charset="0"/>
                <a:ea typeface="Helvetica Neue LT Std 45 Light" charset="0"/>
                <a:cs typeface="Helvetica Neue LT Std 45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4320" y="6570678"/>
            <a:ext cx="274902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indent="0" algn="l" defTabSz="5094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dirty="0">
                <a:solidFill>
                  <a:schemeClr val="tx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© 2018 McKinsey Design  |  Confidential</a:t>
            </a:r>
          </a:p>
          <a:p>
            <a:endParaRPr lang="en-US" sz="900" b="0" i="0" dirty="0">
              <a:solidFill>
                <a:schemeClr val="tx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54788" y="510832"/>
            <a:ext cx="3219433" cy="402429"/>
            <a:chOff x="254788" y="510832"/>
            <a:chExt cx="3219433" cy="402429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4788" y="510832"/>
              <a:ext cx="3219433" cy="402429"/>
            </a:xfrm>
            <a:prstGeom prst="rect">
              <a:avLst/>
            </a:prstGeom>
          </p:spPr>
        </p:pic>
        <p:cxnSp>
          <p:nvCxnSpPr>
            <p:cNvPr id="13" name="Straight Connector 12"/>
            <p:cNvCxnSpPr/>
            <p:nvPr userDrawn="1"/>
          </p:nvCxnSpPr>
          <p:spPr>
            <a:xfrm>
              <a:off x="3274754" y="812431"/>
              <a:ext cx="174551" cy="0"/>
            </a:xfrm>
            <a:prstGeom prst="line">
              <a:avLst/>
            </a:prstGeom>
            <a:ln w="38100">
              <a:solidFill>
                <a:srgbClr val="00FD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4366396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849003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6E97F6-84A9-45F9-B6C4-26E050D54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47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6E97F6-84A9-45F9-B6C4-26E050D54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6A9C66-AD3F-44EF-B601-3430F72601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7C59A5-A921-4323-B972-1EAB016CC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6802877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3/27/2019 9:44 AM Eastern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694460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21299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4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0201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BF4FCC-62D2-4C61-9E4B-AF77B6F25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08813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A927F-8942-43BB-8910-52E5E34EE5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9BC69B-EADC-44CE-8A08-31D263042B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23990C-2E0F-4B87-BDA3-625386DF74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F3145E-4F17-4BCB-BE02-29CC7D61C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280C8D-C960-42C8-9AA2-8EB94FC6E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28609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94CAB-B35A-4379-8E22-12E1F753C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D7BD7A-6DA3-4C5E-93AE-0919509036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85B286-B42D-441F-9960-9F1305C96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2ADAD8-1D77-4069-89A6-E8184FBEF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1757D3-E9BD-44E9-8573-BE9A1E3829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875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88675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3B8909B-98C6-40F4-9B4F-B45318CABE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28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2978" y="-8612"/>
            <a:ext cx="10271968" cy="6866616"/>
          </a:xfrm>
          <a:prstGeom prst="rect">
            <a:avLst/>
          </a:prstGeom>
        </p:spPr>
      </p:pic>
      <p:sp>
        <p:nvSpPr>
          <p:cNvPr id="15" name="Freeform 406"/>
          <p:cNvSpPr>
            <a:spLocks/>
          </p:cNvSpPr>
          <p:nvPr/>
        </p:nvSpPr>
        <p:spPr bwMode="auto">
          <a:xfrm>
            <a:off x="9503910" y="2600478"/>
            <a:ext cx="2688090" cy="4257522"/>
          </a:xfrm>
          <a:custGeom>
            <a:avLst/>
            <a:gdLst>
              <a:gd name="T0" fmla="*/ 1665 w 1665"/>
              <a:gd name="T1" fmla="*/ 0 h 2839"/>
              <a:gd name="T2" fmla="*/ 0 w 1665"/>
              <a:gd name="T3" fmla="*/ 2839 h 2839"/>
              <a:gd name="T4" fmla="*/ 1665 w 1665"/>
              <a:gd name="T5" fmla="*/ 2839 h 2839"/>
              <a:gd name="T6" fmla="*/ 1665 w 1665"/>
              <a:gd name="T7" fmla="*/ 0 h 2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65" h="2839">
                <a:moveTo>
                  <a:pt x="1665" y="0"/>
                </a:moveTo>
                <a:lnTo>
                  <a:pt x="0" y="2839"/>
                </a:lnTo>
                <a:lnTo>
                  <a:pt x="1665" y="2839"/>
                </a:lnTo>
                <a:lnTo>
                  <a:pt x="166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pPr defTabSz="800059"/>
            <a:endParaRPr lang="en-US" sz="2589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4" y="-8612"/>
            <a:ext cx="7772638" cy="6866616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482248" y="-8612"/>
            <a:ext cx="3083062" cy="5334334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1"/>
            <a:ext cx="3078338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47444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6C8CF1-48A0-4AED-B949-BA39337BB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B31F54-18C9-4294-ACB1-58DB588ED3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0038AE-2A83-4BC3-99C4-3A04F50D1E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FBF2FF-F41D-4700-AA10-59B20D25B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B7E1AF-5306-4EF1-8287-DE0614027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4152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C8C4D-324E-482E-954A-A9D9229691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8F25FC-F554-4199-812A-2CB3A8DDD50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EB4543-8E6D-44E4-B6D3-9DAA411FC5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02160-45E3-444A-A094-023342D94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F8F164-8F9F-4FD4-8DB6-6CDEC5282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ACB407-38D8-4DE1-B4A4-4CDCDF6C1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10006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1243C-042B-4EAF-B50D-DA14E91BA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985857-EDA2-4545-92D9-A53B30E2D3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824CE0-182D-47F5-80F7-D48B5162EB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E6263-2C79-4DBF-9D0F-0DAF7840B7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83E129-E133-4607-A256-0214B34C3C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25A211E-4E8F-4894-924B-0B9EF43DF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2859ACF-287F-4A6B-A95C-CB34829500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453FCE-B039-40BA-ACAE-C0A804765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57747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709B7-A736-42A0-A09F-E5AB4B94C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39A51B-A2F7-44BB-9FEE-E150A84FA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ADEC2C-1A1D-4D1B-AC19-A4B104D01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EB49C7-D2AF-4787-B11C-5337CFC73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1914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439765-2B87-44B4-A801-D8F535E40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A1FDF4-A9B8-4D76-9D84-931D1A771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7EA187-5B21-441A-B3D9-8F3A42268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07702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7A0D37-0FD9-4F28-9FC1-3B84513EE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771B42-8654-4307-B5B4-2562AD3A07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07EDE-A776-459A-AB4E-180BA12F6E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624BC6-6E3B-40DC-97FF-C8821AC14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FC1919-14EB-42FB-8604-7474C0A4C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31F951-5174-4229-A48E-57619A79D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96157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D5073-CE0B-4976-9C72-F28B9D86E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154FD6-2557-47EE-9CAA-C30277B5A2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5CEE4-65EE-4264-8272-0114B04DBA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66B2C2-D074-4A9F-A49E-EF3273962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68384D-92A1-45E8-9696-3C3407528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E7A986-8D49-476D-9B44-FE95085A4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06159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82AB0F-035C-499F-969F-620BA80D8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DE51A1-08AA-495D-8020-0C9943FB0B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43DE2D-DE89-4DD3-81F8-44C4B99AE2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054AAC-706F-4DBC-9C3A-BAB415134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B3B2D3-BFCB-4D3E-A6C0-C49C414BF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3093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F0F9392-6FAC-4954-A8D1-ECC6E6E91B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1E42E7-EACC-4669-958C-34E3205B6F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F83A84-F36B-4AE9-B1E0-B945CEC9A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8CE89-2560-4331-B938-1A06CE8EA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594A3-AB9D-488E-A957-641B87A98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7205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624095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DFD9E88-0D7F-4A3F-8B4C-6FCB0024F5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28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961" r="-405"/>
          <a:stretch/>
        </p:blipFill>
        <p:spPr>
          <a:xfrm>
            <a:off x="1501108" y="-3238"/>
            <a:ext cx="10271745" cy="6861239"/>
          </a:xfrm>
          <a:prstGeom prst="rect">
            <a:avLst/>
          </a:prstGeom>
        </p:spPr>
      </p:pic>
      <p:sp>
        <p:nvSpPr>
          <p:cNvPr id="16" name="Freeform 15"/>
          <p:cNvSpPr/>
          <p:nvPr/>
        </p:nvSpPr>
        <p:spPr>
          <a:xfrm>
            <a:off x="4" y="-8612"/>
            <a:ext cx="7772638" cy="6866616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482248" y="-8612"/>
            <a:ext cx="3083062" cy="5334334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2"/>
            <a:ext cx="3078338" cy="21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154" y="5568083"/>
            <a:ext cx="2706126" cy="33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73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887890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5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4416C6B-0903-4384-B92A-079747D2F2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28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1"/>
            <a:ext cx="3078338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85154" y="6197572"/>
            <a:ext cx="2986314" cy="21980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GB" sz="714" dirty="0">
                <a:solidFill>
                  <a:schemeClr val="accent4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154" y="5565256"/>
            <a:ext cx="2706126" cy="337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28581" y="1"/>
            <a:ext cx="5363419" cy="686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76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43533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8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1934B3-A8AF-4EA6-B92D-4382B84C88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6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1200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9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1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66" y="0"/>
            <a:ext cx="12173235" cy="6868588"/>
          </a:xfrm>
          <a:prstGeom prst="rect">
            <a:avLst/>
          </a:prstGeom>
        </p:spPr>
      </p:pic>
      <p:sp>
        <p:nvSpPr>
          <p:cNvPr id="10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1139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63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baseline="0" noProof="0" dirty="0">
                <a:solidFill>
                  <a:schemeClr val="accent2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6299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66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4" y="1652140"/>
            <a:ext cx="5412245" cy="14553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57936" y="1652140"/>
            <a:ext cx="5457001" cy="14553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17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74377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21055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7075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685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" y="-3342"/>
            <a:ext cx="12179952" cy="6864691"/>
          </a:xfrm>
          <a:prstGeom prst="rect">
            <a:avLst/>
          </a:prstGeom>
        </p:spPr>
      </p:pic>
      <p:sp>
        <p:nvSpPr>
          <p:cNvPr id="14" name="Freeform 180"/>
          <p:cNvSpPr>
            <a:spLocks/>
          </p:cNvSpPr>
          <p:nvPr/>
        </p:nvSpPr>
        <p:spPr bwMode="auto">
          <a:xfrm>
            <a:off x="3175" y="0"/>
            <a:ext cx="8102980" cy="6875591"/>
          </a:xfrm>
          <a:custGeom>
            <a:avLst/>
            <a:gdLst>
              <a:gd name="T0" fmla="*/ 2917 w 2917"/>
              <a:gd name="T1" fmla="*/ 0 h 2476"/>
              <a:gd name="T2" fmla="*/ 0 w 2917"/>
              <a:gd name="T3" fmla="*/ 0 h 2476"/>
              <a:gd name="T4" fmla="*/ 0 w 2917"/>
              <a:gd name="T5" fmla="*/ 2476 h 2476"/>
              <a:gd name="T6" fmla="*/ 1480 w 2917"/>
              <a:gd name="T7" fmla="*/ 2476 h 2476"/>
              <a:gd name="T8" fmla="*/ 2917 w 2917"/>
              <a:gd name="T9" fmla="*/ 0 h 2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17" h="2476">
                <a:moveTo>
                  <a:pt x="2917" y="0"/>
                </a:moveTo>
                <a:lnTo>
                  <a:pt x="0" y="0"/>
                </a:lnTo>
                <a:lnTo>
                  <a:pt x="0" y="2476"/>
                </a:lnTo>
                <a:lnTo>
                  <a:pt x="1480" y="2476"/>
                </a:lnTo>
                <a:lnTo>
                  <a:pt x="291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15" name="Freeform 182"/>
          <p:cNvSpPr>
            <a:spLocks/>
          </p:cNvSpPr>
          <p:nvPr/>
        </p:nvSpPr>
        <p:spPr bwMode="auto">
          <a:xfrm>
            <a:off x="3179" y="4550942"/>
            <a:ext cx="1382895" cy="2310376"/>
          </a:xfrm>
          <a:custGeom>
            <a:avLst/>
            <a:gdLst>
              <a:gd name="T0" fmla="*/ 0 w 496"/>
              <a:gd name="T1" fmla="*/ 0 h 832"/>
              <a:gd name="T2" fmla="*/ 496 w 496"/>
              <a:gd name="T3" fmla="*/ 832 h 832"/>
              <a:gd name="T4" fmla="*/ 0 w 496"/>
              <a:gd name="T5" fmla="*/ 832 h 832"/>
              <a:gd name="T6" fmla="*/ 0 w 496"/>
              <a:gd name="T7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6" h="832">
                <a:moveTo>
                  <a:pt x="0" y="0"/>
                </a:moveTo>
                <a:lnTo>
                  <a:pt x="496" y="832"/>
                </a:lnTo>
                <a:lnTo>
                  <a:pt x="0" y="8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16" name="Freeform 181"/>
          <p:cNvSpPr>
            <a:spLocks/>
          </p:cNvSpPr>
          <p:nvPr/>
        </p:nvSpPr>
        <p:spPr bwMode="auto">
          <a:xfrm>
            <a:off x="9203049" y="1620831"/>
            <a:ext cx="3000229" cy="5237170"/>
          </a:xfrm>
          <a:custGeom>
            <a:avLst/>
            <a:gdLst>
              <a:gd name="T0" fmla="*/ 793 w 793"/>
              <a:gd name="T1" fmla="*/ 0 h 1388"/>
              <a:gd name="T2" fmla="*/ 0 w 793"/>
              <a:gd name="T3" fmla="*/ 1388 h 1388"/>
              <a:gd name="T4" fmla="*/ 793 w 793"/>
              <a:gd name="T5" fmla="*/ 1388 h 1388"/>
              <a:gd name="T6" fmla="*/ 793 w 793"/>
              <a:gd name="T7" fmla="*/ 0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3" h="1388">
                <a:moveTo>
                  <a:pt x="793" y="0"/>
                </a:moveTo>
                <a:lnTo>
                  <a:pt x="0" y="1388"/>
                </a:lnTo>
                <a:lnTo>
                  <a:pt x="793" y="1388"/>
                </a:lnTo>
                <a:lnTo>
                  <a:pt x="79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04636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709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F69CE2-47D9-4C8B-9081-285F9C8DBE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" y="-3342"/>
            <a:ext cx="12179952" cy="6864691"/>
          </a:xfrm>
          <a:prstGeom prst="rect">
            <a:avLst/>
          </a:prstGeom>
        </p:spPr>
      </p:pic>
      <p:sp>
        <p:nvSpPr>
          <p:cNvPr id="9" name="Freeform 8"/>
          <p:cNvSpPr/>
          <p:nvPr/>
        </p:nvSpPr>
        <p:spPr>
          <a:xfrm>
            <a:off x="-1069" y="324"/>
            <a:ext cx="12194137" cy="6857352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0326108" y="1"/>
            <a:ext cx="1865892" cy="431645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3" y="234865"/>
            <a:ext cx="9304728" cy="357236"/>
          </a:xfrm>
        </p:spPr>
        <p:txBody>
          <a:bodyPr wrap="square">
            <a:sp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8169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733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-3342"/>
            <a:ext cx="12183127" cy="6864691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>
            <a:off x="-1069" y="324"/>
            <a:ext cx="12194137" cy="6857352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0326108" y="1"/>
            <a:ext cx="1865892" cy="431645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9304730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16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7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85930" y="1652140"/>
            <a:ext cx="9303952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3283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57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5099950" y="2"/>
            <a:ext cx="7092054" cy="6858001"/>
          </a:xfrm>
          <a:custGeom>
            <a:avLst/>
            <a:gdLst>
              <a:gd name="connsiteX0" fmla="*/ 0 w 6950767"/>
              <a:gd name="connsiteY0" fmla="*/ 0 h 6721476"/>
              <a:gd name="connsiteX1" fmla="*/ 6694714 w 6950767"/>
              <a:gd name="connsiteY1" fmla="*/ 0 h 6721476"/>
              <a:gd name="connsiteX2" fmla="*/ 6694714 w 6950767"/>
              <a:gd name="connsiteY2" fmla="*/ 1 h 6721476"/>
              <a:gd name="connsiteX3" fmla="*/ 6950767 w 6950767"/>
              <a:gd name="connsiteY3" fmla="*/ 1 h 6721476"/>
              <a:gd name="connsiteX4" fmla="*/ 6950767 w 6950767"/>
              <a:gd name="connsiteY4" fmla="*/ 6721476 h 6721476"/>
              <a:gd name="connsiteX5" fmla="*/ 6950765 w 6950767"/>
              <a:gd name="connsiteY5" fmla="*/ 6721476 h 6721476"/>
              <a:gd name="connsiteX6" fmla="*/ 6950765 w 6950767"/>
              <a:gd name="connsiteY6" fmla="*/ 6718239 h 6721476"/>
              <a:gd name="connsiteX7" fmla="*/ 32578 w 6950767"/>
              <a:gd name="connsiteY7" fmla="*/ 6718239 h 6721476"/>
              <a:gd name="connsiteX8" fmla="*/ 1977107 w 6950767"/>
              <a:gd name="connsiteY8" fmla="*/ 3360782 h 6721476"/>
              <a:gd name="connsiteX9" fmla="*/ 0 w 6950767"/>
              <a:gd name="connsiteY9" fmla="*/ 0 h 672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0767" h="6721476">
                <a:moveTo>
                  <a:pt x="0" y="0"/>
                </a:moveTo>
                <a:lnTo>
                  <a:pt x="6694714" y="0"/>
                </a:lnTo>
                <a:lnTo>
                  <a:pt x="6694714" y="1"/>
                </a:lnTo>
                <a:lnTo>
                  <a:pt x="6950767" y="1"/>
                </a:lnTo>
                <a:lnTo>
                  <a:pt x="6950767" y="6721476"/>
                </a:lnTo>
                <a:lnTo>
                  <a:pt x="6950765" y="6721476"/>
                </a:lnTo>
                <a:lnTo>
                  <a:pt x="6950765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5933" y="1652140"/>
            <a:ext cx="5572004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0465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5930" y="1652140"/>
            <a:ext cx="9303952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2278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a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81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bg1"/>
                </a:solidFill>
              </a:rPr>
              <a:pPr lvl="0"/>
              <a:t>‹#›</a:t>
            </a:fld>
            <a:endParaRPr lang="x-none" sz="714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1160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05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B3CF07E-8A47-4BA6-9699-5E070A0C6B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9161942" y="1"/>
            <a:ext cx="3065052" cy="6069025"/>
          </a:xfrm>
          <a:custGeom>
            <a:avLst/>
            <a:gdLst>
              <a:gd name="connsiteX0" fmla="*/ 3111190 w 3111190"/>
              <a:gd name="connsiteY0" fmla="*/ 6077415 h 6077415"/>
              <a:gd name="connsiteX1" fmla="*/ 0 w 3111190"/>
              <a:gd name="connsiteY1" fmla="*/ 780585 h 6077415"/>
              <a:gd name="connsiteX2" fmla="*/ 0 w 3111190"/>
              <a:gd name="connsiteY2" fmla="*/ 0 h 6077415"/>
              <a:gd name="connsiteX3" fmla="*/ 3055434 w 3111190"/>
              <a:gd name="connsiteY3" fmla="*/ 0 h 6077415"/>
              <a:gd name="connsiteX4" fmla="*/ 3055434 w 3111190"/>
              <a:gd name="connsiteY4" fmla="*/ 6066263 h 6077415"/>
              <a:gd name="connsiteX0" fmla="*/ 3065051 w 3065051"/>
              <a:gd name="connsiteY0" fmla="*/ 6069026 h 6069026"/>
              <a:gd name="connsiteX1" fmla="*/ 0 w 3065051"/>
              <a:gd name="connsiteY1" fmla="*/ 780585 h 6069026"/>
              <a:gd name="connsiteX2" fmla="*/ 0 w 3065051"/>
              <a:gd name="connsiteY2" fmla="*/ 0 h 6069026"/>
              <a:gd name="connsiteX3" fmla="*/ 3055434 w 3065051"/>
              <a:gd name="connsiteY3" fmla="*/ 0 h 6069026"/>
              <a:gd name="connsiteX4" fmla="*/ 3055434 w 3065051"/>
              <a:gd name="connsiteY4" fmla="*/ 6066263 h 6069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051" h="6069026">
                <a:moveTo>
                  <a:pt x="3065051" y="6069026"/>
                </a:moveTo>
                <a:lnTo>
                  <a:pt x="0" y="780585"/>
                </a:lnTo>
                <a:lnTo>
                  <a:pt x="0" y="0"/>
                </a:lnTo>
                <a:lnTo>
                  <a:pt x="3055434" y="0"/>
                </a:lnTo>
                <a:lnTo>
                  <a:pt x="3055434" y="6066263"/>
                </a:ln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4150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546" y="3063925"/>
            <a:ext cx="5668909" cy="701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45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78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18447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4"/>
          </a:xfrm>
          <a:prstGeom prst="rect">
            <a:avLst/>
          </a:prstGeom>
        </p:spPr>
        <p:txBody>
          <a:bodyPr/>
          <a:lstStyle/>
          <a:p>
            <a:fld id="{44B0E816-8CD6-F94E-AB9B-3C9267DCF5A8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1" cy="3651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1" y="6356351"/>
            <a:ext cx="2743200" cy="365124"/>
          </a:xfrm>
          <a:prstGeom prst="rect">
            <a:avLst/>
          </a:prstGeom>
        </p:spPr>
        <p:txBody>
          <a:bodyPr/>
          <a:lstStyle/>
          <a:p>
            <a:fld id="{9136EBB5-F8A9-B542-A0D1-2F01AC9A1C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2345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OC ThinkCell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6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2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59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/>
        </p:nvSpPr>
        <p:spPr>
          <a:xfrm>
            <a:off x="11557381" y="6492661"/>
            <a:ext cx="125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lang="en-GB" sz="800" smtClean="0">
                <a:solidFill>
                  <a:schemeClr val="tx2"/>
                </a:solidFill>
              </a:defRPr>
            </a:lvl1pPr>
          </a:lstStyle>
          <a:p>
            <a:pPr lvl="0"/>
            <a:fld id="{42C328C1-A84F-4A39-A664-DBA00541A8C6}" type="slidenum">
              <a:rPr lang="en-US" sz="700" smtClean="0">
                <a:solidFill>
                  <a:schemeClr val="bg1"/>
                </a:solidFill>
              </a:rPr>
              <a:pPr lvl="0"/>
              <a:t>‹#›</a:t>
            </a:fld>
            <a:endParaRPr lang="en-US" sz="70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0908" y="6501811"/>
            <a:ext cx="951603" cy="11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2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2"/>
          <p:cNvGrpSpPr/>
          <p:nvPr/>
        </p:nvGrpSpPr>
        <p:grpSpPr>
          <a:xfrm>
            <a:off x="9922144" y="6565926"/>
            <a:ext cx="2442923" cy="143565"/>
            <a:chOff x="0" y="0"/>
            <a:chExt cx="1832192" cy="107672"/>
          </a:xfrm>
        </p:grpSpPr>
        <p:sp>
          <p:nvSpPr>
            <p:cNvPr id="30" name="Shape 30"/>
            <p:cNvSpPr/>
            <p:nvPr/>
          </p:nvSpPr>
          <p:spPr>
            <a:xfrm>
              <a:off x="776197" y="12511"/>
              <a:ext cx="1055995" cy="943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spcBef>
                  <a:spcPts val="600"/>
                </a:spcBef>
                <a:defRPr sz="700" b="1">
                  <a:latin typeface="Helvetic neue"/>
                  <a:ea typeface="Helvetic neue"/>
                  <a:cs typeface="Helvetic neue"/>
                  <a:sym typeface="Helvetic neue"/>
                </a:defRPr>
              </a:lvl1pPr>
            </a:lstStyle>
            <a:p>
              <a:pPr>
                <a:defRPr sz="1800" b="0"/>
              </a:pPr>
              <a:r>
                <a:rPr sz="817" b="1"/>
                <a:t>| Design Studio</a:t>
              </a:r>
            </a:p>
          </p:txBody>
        </p:sp>
        <p:sp>
          <p:nvSpPr>
            <p:cNvPr id="31" name="Shape 31"/>
            <p:cNvSpPr/>
            <p:nvPr/>
          </p:nvSpPr>
          <p:spPr>
            <a:xfrm>
              <a:off x="0" y="0"/>
              <a:ext cx="1304195" cy="1076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>
                <a:spcBef>
                  <a:spcPts val="700"/>
                </a:spcBef>
                <a:defRPr sz="1800"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r>
                <a:rPr sz="933">
                  <a:solidFill>
                    <a:srgbClr val="808080"/>
                  </a:solidFill>
                </a:rPr>
                <a:t>McKinsey &amp; Company</a:t>
              </a:r>
            </a:p>
          </p:txBody>
        </p:sp>
      </p:grpSp>
      <p:grpSp>
        <p:nvGrpSpPr>
          <p:cNvPr id="35" name="Group 35"/>
          <p:cNvGrpSpPr/>
          <p:nvPr/>
        </p:nvGrpSpPr>
        <p:grpSpPr>
          <a:xfrm>
            <a:off x="-1" y="0"/>
            <a:ext cx="12207399" cy="6871028"/>
            <a:chOff x="-1" y="0"/>
            <a:chExt cx="9155547" cy="5153270"/>
          </a:xfrm>
        </p:grpSpPr>
        <p:sp>
          <p:nvSpPr>
            <p:cNvPr id="33" name="Shape 33"/>
            <p:cNvSpPr/>
            <p:nvPr/>
          </p:nvSpPr>
          <p:spPr>
            <a:xfrm>
              <a:off x="-1" y="0"/>
              <a:ext cx="9155547" cy="5153270"/>
            </a:xfrm>
            <a:prstGeom prst="rect">
              <a:avLst/>
            </a:prstGeom>
            <a:solidFill>
              <a:srgbClr val="00ACE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1867"/>
            </a:p>
          </p:txBody>
        </p:sp>
        <p:sp>
          <p:nvSpPr>
            <p:cNvPr id="34" name="Shape 34"/>
            <p:cNvSpPr/>
            <p:nvPr/>
          </p:nvSpPr>
          <p:spPr>
            <a:xfrm>
              <a:off x="-1" y="2468889"/>
              <a:ext cx="9155547" cy="2154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867"/>
                <a:t>        </a:t>
              </a:r>
            </a:p>
          </p:txBody>
        </p:sp>
      </p:grpSp>
      <p:sp>
        <p:nvSpPr>
          <p:cNvPr id="36" name="Shape 36"/>
          <p:cNvSpPr/>
          <p:nvPr/>
        </p:nvSpPr>
        <p:spPr>
          <a:xfrm>
            <a:off x="10354452" y="6515124"/>
            <a:ext cx="1433143" cy="1435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700"/>
              </a:spcBef>
              <a:defRPr sz="1800">
                <a:solidFill>
                  <a:schemeClr val="accent1">
                    <a:satOff val="-11808"/>
                    <a:lumOff val="26568"/>
                  </a:schemeClr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sz="933"/>
              <a:t>McKinsey &amp; Company |</a:t>
            </a:r>
          </a:p>
        </p:txBody>
      </p:sp>
      <p:sp>
        <p:nvSpPr>
          <p:cNvPr id="37" name="Shape 37"/>
          <p:cNvSpPr>
            <a:spLocks noGrp="1"/>
          </p:cNvSpPr>
          <p:nvPr>
            <p:ph type="sldNum" sz="quarter" idx="2"/>
          </p:nvPr>
        </p:nvSpPr>
        <p:spPr>
          <a:xfrm>
            <a:off x="9158344" y="6409920"/>
            <a:ext cx="2844801" cy="37253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>
                    <a:satOff val="-11808"/>
                    <a:lumOff val="26568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3180716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E360-A243-48EA-9916-5F7D7763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6255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42900" y="604634"/>
            <a:ext cx="11506201" cy="538609"/>
          </a:xfrm>
          <a:prstGeom prst="rect">
            <a:avLst/>
          </a:prstGeom>
        </p:spPr>
        <p:txBody>
          <a:bodyPr anchor="ctr"/>
          <a:lstStyle>
            <a:lvl1pPr>
              <a:defRPr sz="35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93936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E4C650-CDBE-4E11-9F25-5E6C6DB53BAF}" type="datetimeFigureOut">
              <a:rPr lang="en-US"/>
              <a:pPr>
                <a:defRPr/>
              </a:pPr>
              <a:t>3/9/20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3F5DA5-2554-49B6-B199-131E62F756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4703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Printed 12/6/2018 12:05 PM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95035" y="191793"/>
            <a:ext cx="222122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2938772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48985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39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74656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95035" y="191793"/>
            <a:ext cx="222122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61743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11/12/2018 10:54 AM Indi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9967143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3168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51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8294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nd curv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6000751" y="1604434"/>
            <a:ext cx="6191251" cy="5253567"/>
          </a:xfrm>
          <a:custGeom>
            <a:avLst/>
            <a:gdLst>
              <a:gd name="connsiteX0" fmla="*/ 0 w 5751512"/>
              <a:gd name="connsiteY0" fmla="*/ 0 h 3946525"/>
              <a:gd name="connsiteX1" fmla="*/ 5751512 w 5751512"/>
              <a:gd name="connsiteY1" fmla="*/ 0 h 3946525"/>
              <a:gd name="connsiteX2" fmla="*/ 5751512 w 5751512"/>
              <a:gd name="connsiteY2" fmla="*/ 3946525 h 3946525"/>
              <a:gd name="connsiteX3" fmla="*/ 0 w 5751512"/>
              <a:gd name="connsiteY3" fmla="*/ 3946525 h 3946525"/>
              <a:gd name="connsiteX4" fmla="*/ 0 w 5751512"/>
              <a:gd name="connsiteY4" fmla="*/ 0 h 3946525"/>
              <a:gd name="connsiteX0" fmla="*/ 3038929 w 5751512"/>
              <a:gd name="connsiteY0" fmla="*/ 145143 h 3946525"/>
              <a:gd name="connsiteX1" fmla="*/ 5751512 w 5751512"/>
              <a:gd name="connsiteY1" fmla="*/ 0 h 3946525"/>
              <a:gd name="connsiteX2" fmla="*/ 5751512 w 5751512"/>
              <a:gd name="connsiteY2" fmla="*/ 3946525 h 3946525"/>
              <a:gd name="connsiteX3" fmla="*/ 0 w 5751512"/>
              <a:gd name="connsiteY3" fmla="*/ 3946525 h 3946525"/>
              <a:gd name="connsiteX4" fmla="*/ 3038929 w 5751512"/>
              <a:gd name="connsiteY4" fmla="*/ 145143 h 3946525"/>
              <a:gd name="connsiteX0" fmla="*/ 3038929 w 5751512"/>
              <a:gd name="connsiteY0" fmla="*/ 145143 h 3946525"/>
              <a:gd name="connsiteX1" fmla="*/ 5751512 w 5751512"/>
              <a:gd name="connsiteY1" fmla="*/ 0 h 3946525"/>
              <a:gd name="connsiteX2" fmla="*/ 5751512 w 5751512"/>
              <a:gd name="connsiteY2" fmla="*/ 3946525 h 3946525"/>
              <a:gd name="connsiteX3" fmla="*/ 0 w 5751512"/>
              <a:gd name="connsiteY3" fmla="*/ 3946525 h 3946525"/>
              <a:gd name="connsiteX4" fmla="*/ 3038929 w 5751512"/>
              <a:gd name="connsiteY4" fmla="*/ 145143 h 3946525"/>
              <a:gd name="connsiteX0" fmla="*/ 3185476 w 5898059"/>
              <a:gd name="connsiteY0" fmla="*/ 145143 h 3946525"/>
              <a:gd name="connsiteX1" fmla="*/ 5898059 w 5898059"/>
              <a:gd name="connsiteY1" fmla="*/ 0 h 3946525"/>
              <a:gd name="connsiteX2" fmla="*/ 5898059 w 5898059"/>
              <a:gd name="connsiteY2" fmla="*/ 3946525 h 3946525"/>
              <a:gd name="connsiteX3" fmla="*/ 146547 w 5898059"/>
              <a:gd name="connsiteY3" fmla="*/ 3946525 h 3946525"/>
              <a:gd name="connsiteX4" fmla="*/ 3185476 w 5898059"/>
              <a:gd name="connsiteY4" fmla="*/ 145143 h 3946525"/>
              <a:gd name="connsiteX0" fmla="*/ 4670912 w 5779285"/>
              <a:gd name="connsiteY0" fmla="*/ 53092 h 3946525"/>
              <a:gd name="connsiteX1" fmla="*/ 5779285 w 5779285"/>
              <a:gd name="connsiteY1" fmla="*/ 0 h 3946525"/>
              <a:gd name="connsiteX2" fmla="*/ 5779285 w 5779285"/>
              <a:gd name="connsiteY2" fmla="*/ 3946525 h 3946525"/>
              <a:gd name="connsiteX3" fmla="*/ 27773 w 5779285"/>
              <a:gd name="connsiteY3" fmla="*/ 3946525 h 3946525"/>
              <a:gd name="connsiteX4" fmla="*/ 4670912 w 5779285"/>
              <a:gd name="connsiteY4" fmla="*/ 53092 h 3946525"/>
              <a:gd name="connsiteX0" fmla="*/ 4661785 w 5770158"/>
              <a:gd name="connsiteY0" fmla="*/ 53092 h 3946525"/>
              <a:gd name="connsiteX1" fmla="*/ 5770158 w 5770158"/>
              <a:gd name="connsiteY1" fmla="*/ 0 h 3946525"/>
              <a:gd name="connsiteX2" fmla="*/ 5770158 w 5770158"/>
              <a:gd name="connsiteY2" fmla="*/ 3946525 h 3946525"/>
              <a:gd name="connsiteX3" fmla="*/ 18646 w 5770158"/>
              <a:gd name="connsiteY3" fmla="*/ 3946525 h 3946525"/>
              <a:gd name="connsiteX4" fmla="*/ 4661785 w 5770158"/>
              <a:gd name="connsiteY4" fmla="*/ 53092 h 3946525"/>
              <a:gd name="connsiteX0" fmla="*/ 4357352 w 5465725"/>
              <a:gd name="connsiteY0" fmla="*/ 53092 h 3946525"/>
              <a:gd name="connsiteX1" fmla="*/ 5465725 w 5465725"/>
              <a:gd name="connsiteY1" fmla="*/ 0 h 3946525"/>
              <a:gd name="connsiteX2" fmla="*/ 5465725 w 5465725"/>
              <a:gd name="connsiteY2" fmla="*/ 3946525 h 3946525"/>
              <a:gd name="connsiteX3" fmla="*/ 21686 w 5465725"/>
              <a:gd name="connsiteY3" fmla="*/ 3936297 h 3946525"/>
              <a:gd name="connsiteX4" fmla="*/ 4357352 w 5465725"/>
              <a:gd name="connsiteY4" fmla="*/ 53092 h 3946525"/>
              <a:gd name="connsiteX0" fmla="*/ 4337247 w 5445620"/>
              <a:gd name="connsiteY0" fmla="*/ 53092 h 3946525"/>
              <a:gd name="connsiteX1" fmla="*/ 5445620 w 5445620"/>
              <a:gd name="connsiteY1" fmla="*/ 0 h 3946525"/>
              <a:gd name="connsiteX2" fmla="*/ 5445620 w 5445620"/>
              <a:gd name="connsiteY2" fmla="*/ 3946525 h 3946525"/>
              <a:gd name="connsiteX3" fmla="*/ 1581 w 5445620"/>
              <a:gd name="connsiteY3" fmla="*/ 3936297 h 3946525"/>
              <a:gd name="connsiteX4" fmla="*/ 4337247 w 5445620"/>
              <a:gd name="connsiteY4" fmla="*/ 53092 h 3946525"/>
              <a:gd name="connsiteX0" fmla="*/ 5432791 w 5444953"/>
              <a:gd name="connsiteY0" fmla="*/ 12179 h 3946525"/>
              <a:gd name="connsiteX1" fmla="*/ 5444953 w 5444953"/>
              <a:gd name="connsiteY1" fmla="*/ 0 h 3946525"/>
              <a:gd name="connsiteX2" fmla="*/ 5444953 w 5444953"/>
              <a:gd name="connsiteY2" fmla="*/ 3946525 h 3946525"/>
              <a:gd name="connsiteX3" fmla="*/ 914 w 5444953"/>
              <a:gd name="connsiteY3" fmla="*/ 3936297 h 3946525"/>
              <a:gd name="connsiteX4" fmla="*/ 5432791 w 5444953"/>
              <a:gd name="connsiteY4" fmla="*/ 12179 h 3946525"/>
              <a:gd name="connsiteX0" fmla="*/ 5433450 w 5445612"/>
              <a:gd name="connsiteY0" fmla="*/ 12179 h 3946525"/>
              <a:gd name="connsiteX1" fmla="*/ 5445612 w 5445612"/>
              <a:gd name="connsiteY1" fmla="*/ 0 h 3946525"/>
              <a:gd name="connsiteX2" fmla="*/ 5445612 w 5445612"/>
              <a:gd name="connsiteY2" fmla="*/ 3946525 h 3946525"/>
              <a:gd name="connsiteX3" fmla="*/ 1573 w 5445612"/>
              <a:gd name="connsiteY3" fmla="*/ 3936297 h 3946525"/>
              <a:gd name="connsiteX4" fmla="*/ 5433450 w 5445612"/>
              <a:gd name="connsiteY4" fmla="*/ 12179 h 3946525"/>
              <a:gd name="connsiteX0" fmla="*/ 5380034 w 5392196"/>
              <a:gd name="connsiteY0" fmla="*/ 12179 h 3946525"/>
              <a:gd name="connsiteX1" fmla="*/ 5392196 w 5392196"/>
              <a:gd name="connsiteY1" fmla="*/ 0 h 3946525"/>
              <a:gd name="connsiteX2" fmla="*/ 5392196 w 5392196"/>
              <a:gd name="connsiteY2" fmla="*/ 3946525 h 3946525"/>
              <a:gd name="connsiteX3" fmla="*/ 1631 w 5392196"/>
              <a:gd name="connsiteY3" fmla="*/ 3721509 h 3946525"/>
              <a:gd name="connsiteX4" fmla="*/ 5380034 w 5392196"/>
              <a:gd name="connsiteY4" fmla="*/ 12179 h 3946525"/>
              <a:gd name="connsiteX0" fmla="*/ 5420095 w 5432257"/>
              <a:gd name="connsiteY0" fmla="*/ 12179 h 3946525"/>
              <a:gd name="connsiteX1" fmla="*/ 5432257 w 5432257"/>
              <a:gd name="connsiteY1" fmla="*/ 0 h 3946525"/>
              <a:gd name="connsiteX2" fmla="*/ 5432257 w 5432257"/>
              <a:gd name="connsiteY2" fmla="*/ 3946525 h 3946525"/>
              <a:gd name="connsiteX3" fmla="*/ 1587 w 5432257"/>
              <a:gd name="connsiteY3" fmla="*/ 3946525 h 3946525"/>
              <a:gd name="connsiteX4" fmla="*/ 5420095 w 5432257"/>
              <a:gd name="connsiteY4" fmla="*/ 12179 h 394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2257" h="3946525">
                <a:moveTo>
                  <a:pt x="5420095" y="12179"/>
                </a:moveTo>
                <a:lnTo>
                  <a:pt x="5432257" y="0"/>
                </a:lnTo>
                <a:lnTo>
                  <a:pt x="5432257" y="3946525"/>
                </a:lnTo>
                <a:lnTo>
                  <a:pt x="1587" y="3946525"/>
                </a:lnTo>
                <a:cubicBezTo>
                  <a:pt x="-54433" y="2778027"/>
                  <a:pt x="1365326" y="84261"/>
                  <a:pt x="5420095" y="12179"/>
                </a:cubicBezTo>
                <a:close/>
              </a:path>
            </a:pathLst>
          </a:custGeom>
        </p:spPr>
        <p:txBody>
          <a:bodyPr vert="horz"/>
          <a:lstStyle>
            <a:lvl1pPr marL="0" indent="0" algn="r">
              <a:buNone/>
              <a:defRPr sz="1517">
                <a:solidFill>
                  <a:srgbClr val="00A7B5"/>
                </a:solidFill>
              </a:defRPr>
            </a:lvl1pPr>
          </a:lstStyle>
          <a:p>
            <a:r>
              <a:rPr lang="en-US" dirty="0"/>
              <a:t>Click icon to add photo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35003" y="4550151"/>
            <a:ext cx="2082799" cy="0"/>
          </a:xfrm>
          <a:prstGeom prst="line">
            <a:avLst/>
          </a:prstGeom>
          <a:ln w="28575" cap="rnd">
            <a:solidFill>
              <a:srgbClr val="4F2D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4627069"/>
            <a:ext cx="8178800" cy="953187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lang="en-US" sz="3150" b="1" i="0" kern="1200" baseline="0" dirty="0" smtClean="0">
                <a:solidFill>
                  <a:srgbClr val="4F2D7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33353" indent="0">
              <a:buNone/>
              <a:defRPr sz="2100"/>
            </a:lvl2pPr>
            <a:lvl3pPr marL="1066705" indent="0">
              <a:buNone/>
              <a:defRPr sz="1867"/>
            </a:lvl3pPr>
            <a:lvl4pPr marL="1600057" indent="0">
              <a:buNone/>
              <a:defRPr sz="1633"/>
            </a:lvl4pPr>
            <a:lvl5pPr marL="2133410" indent="0">
              <a:buNone/>
              <a:defRPr sz="1633"/>
            </a:lvl5pPr>
            <a:lvl6pPr marL="2666763" indent="0">
              <a:buNone/>
              <a:defRPr sz="1633"/>
            </a:lvl6pPr>
            <a:lvl7pPr marL="3200115" indent="0">
              <a:buNone/>
              <a:defRPr sz="1633"/>
            </a:lvl7pPr>
            <a:lvl8pPr marL="3733467" indent="0">
              <a:buNone/>
              <a:defRPr sz="1633"/>
            </a:lvl8pPr>
            <a:lvl9pPr marL="4266820" indent="0">
              <a:buNone/>
              <a:defRPr sz="1633"/>
            </a:lvl9pPr>
          </a:lstStyle>
          <a:p>
            <a:pPr lvl="0"/>
            <a:r>
              <a:rPr lang="en-US" dirty="0"/>
              <a:t>Primary header her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5590332"/>
            <a:ext cx="8178800" cy="372856"/>
          </a:xfrm>
        </p:spPr>
        <p:txBody>
          <a:bodyPr anchor="b"/>
          <a:lstStyle>
            <a:lvl1pPr marL="0" indent="0">
              <a:buNone/>
              <a:defRPr sz="21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ondary header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5003" y="3810197"/>
            <a:ext cx="4444999" cy="608923"/>
          </a:xfr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1517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4216170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0749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nt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35"/>
            <a:ext cx="12192000" cy="68577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266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217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42900" y="521243"/>
            <a:ext cx="11506201" cy="705392"/>
          </a:xfrm>
          <a:prstGeom prst="rect">
            <a:avLst/>
          </a:prstGeom>
        </p:spPr>
        <p:txBody>
          <a:bodyPr anchor="ctr"/>
          <a:lstStyle>
            <a:lvl1pPr>
              <a:defRPr sz="35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78568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620000" y="3429000"/>
            <a:ext cx="4572000" cy="3429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t" anchorCtr="0"/>
          <a:lstStyle/>
          <a:p>
            <a:pPr algn="ctr" defTabSz="457000"/>
            <a:endParaRPr lang="en-US" sz="2900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6939" y="5639887"/>
            <a:ext cx="3351201" cy="1144030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4472" y="1280160"/>
            <a:ext cx="6093744" cy="3619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4474" y="5836921"/>
            <a:ext cx="6093743" cy="6958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1500" b="0" i="0">
                <a:solidFill>
                  <a:schemeClr val="tx2"/>
                </a:solidFill>
                <a:latin typeface="+mn-lt"/>
                <a:cs typeface="Effra Light"/>
              </a:defRPr>
            </a:lvl1pPr>
            <a:lvl2pPr>
              <a:lnSpc>
                <a:spcPct val="100000"/>
              </a:lnSpc>
              <a:defRPr sz="1500" b="1">
                <a:solidFill>
                  <a:schemeClr val="tx2"/>
                </a:solidFill>
                <a:latin typeface="+mn-lt"/>
              </a:defRPr>
            </a:lvl2pPr>
            <a:lvl3pPr>
              <a:lnSpc>
                <a:spcPct val="100000"/>
              </a:lnSpc>
              <a:defRPr sz="1500" b="0">
                <a:solidFill>
                  <a:schemeClr val="tx2"/>
                </a:solidFill>
                <a:latin typeface="+mn-lt"/>
              </a:defRPr>
            </a:lvl3pPr>
            <a:lvl4pPr>
              <a:lnSpc>
                <a:spcPct val="100000"/>
              </a:lnSpc>
              <a:defRPr sz="1500">
                <a:solidFill>
                  <a:schemeClr val="tx2"/>
                </a:solidFill>
                <a:latin typeface="+mn-lt"/>
              </a:defRPr>
            </a:lvl4pPr>
            <a:lvl5pPr>
              <a:lnSpc>
                <a:spcPct val="100000"/>
              </a:lnSpc>
              <a:defRPr sz="15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510400" y="346464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7620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7" tIns="38098" rIns="76197" bIns="38098" rtlCol="0" anchor="t" anchorCtr="0"/>
          <a:lstStyle/>
          <a:p>
            <a:pPr algn="ctr" defTabSz="457000"/>
            <a:endParaRPr lang="en-US" sz="2900" dirty="0">
              <a:solidFill>
                <a:srgbClr val="FFFFFF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7620000" y="0"/>
            <a:ext cx="4572000" cy="3429000"/>
          </a:xfrm>
          <a:prstGeom prst="rect">
            <a:avLst/>
          </a:prstGeom>
          <a:noFill/>
        </p:spPr>
        <p:txBody>
          <a:bodyPr vert="horz" lIns="76197" tIns="38098" rIns="76197" bIns="38098">
            <a:normAutofit/>
          </a:bodyPr>
          <a:lstStyle>
            <a:lvl1pPr>
              <a:defRPr sz="1500" b="0" i="0">
                <a:solidFill>
                  <a:schemeClr val="tx2"/>
                </a:solidFill>
                <a:latin typeface="Effra Light"/>
                <a:cs typeface="Effra Light"/>
              </a:defRPr>
            </a:lvl1pPr>
          </a:lstStyle>
          <a:p>
            <a:r>
              <a:rPr lang="en-US" dirty="0"/>
              <a:t>Add photo or leave as solid Color</a:t>
            </a:r>
          </a:p>
        </p:txBody>
      </p:sp>
    </p:spTree>
    <p:extLst>
      <p:ext uri="{BB962C8B-B14F-4D97-AF65-F5344CB8AC3E}">
        <p14:creationId xmlns:p14="http://schemas.microsoft.com/office/powerpoint/2010/main" val="764480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4474" y="1226821"/>
            <a:ext cx="9141715" cy="4381500"/>
          </a:xfrm>
        </p:spPr>
        <p:txBody>
          <a:bodyPr>
            <a:normAutofit/>
          </a:bodyPr>
          <a:lstStyle>
            <a:lvl1pPr>
              <a:defRPr sz="8299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04474" y="5836921"/>
            <a:ext cx="6096000" cy="73533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100000"/>
              </a:lnSpc>
              <a:defRPr sz="1500" b="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defRPr sz="1500" b="1">
                <a:solidFill>
                  <a:schemeClr val="accent2"/>
                </a:solidFill>
                <a:latin typeface="+mn-lt"/>
              </a:defRPr>
            </a:lvl2pPr>
            <a:lvl3pPr>
              <a:lnSpc>
                <a:spcPct val="100000"/>
              </a:lnSpc>
              <a:defRPr sz="1500">
                <a:solidFill>
                  <a:schemeClr val="accent2"/>
                </a:solidFill>
                <a:latin typeface="+mn-lt"/>
              </a:defRPr>
            </a:lvl3pPr>
            <a:lvl4pPr>
              <a:lnSpc>
                <a:spcPct val="100000"/>
              </a:lnSpc>
              <a:defRPr sz="1500">
                <a:solidFill>
                  <a:schemeClr val="accent2"/>
                </a:solidFill>
                <a:latin typeface="+mn-lt"/>
              </a:defRPr>
            </a:lvl4pPr>
            <a:lvl5pPr>
              <a:lnSpc>
                <a:spcPct val="100000"/>
              </a:lnSpc>
              <a:defRPr sz="15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510400" y="346464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9056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6948" y="998222"/>
            <a:ext cx="4065055" cy="44409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600" y="5638800"/>
            <a:ext cx="3351389" cy="114409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4473" y="1226821"/>
            <a:ext cx="7622473" cy="4381500"/>
          </a:xfrm>
        </p:spPr>
        <p:txBody>
          <a:bodyPr>
            <a:normAutofit/>
          </a:bodyPr>
          <a:lstStyle>
            <a:lvl1pPr>
              <a:defRPr sz="82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04474" y="5836921"/>
            <a:ext cx="6096000" cy="73533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100000"/>
              </a:lnSpc>
              <a:defRPr sz="15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defRPr sz="1500" b="1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defRPr sz="15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defRPr sz="15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defRPr sz="15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510400" y="346464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37965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/>
          <p:cNvSpPr/>
          <p:nvPr userDrawn="1"/>
        </p:nvSpPr>
        <p:spPr>
          <a:xfrm>
            <a:off x="504472" y="379678"/>
            <a:ext cx="11176000" cy="5242560"/>
          </a:xfrm>
          <a:prstGeom prst="frame">
            <a:avLst>
              <a:gd name="adj1" fmla="val 181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 defTabSz="457000"/>
            <a:endParaRPr lang="en-US" sz="2900" dirty="0">
              <a:solidFill>
                <a:srgbClr val="001E4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600" y="5638800"/>
            <a:ext cx="3351389" cy="114409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16001" y="708660"/>
            <a:ext cx="7874000" cy="4381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7627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6">
          <p15:clr>
            <a:srgbClr val="FBAE40"/>
          </p15:clr>
        </p15:guide>
        <p15:guide id="2" pos="5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68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/>
          <p:cNvSpPr/>
          <p:nvPr userDrawn="1"/>
        </p:nvSpPr>
        <p:spPr>
          <a:xfrm>
            <a:off x="504473" y="379678"/>
            <a:ext cx="11176001" cy="5238750"/>
          </a:xfrm>
          <a:prstGeom prst="frame">
            <a:avLst>
              <a:gd name="adj1" fmla="val 1811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 defTabSz="457000"/>
            <a:endParaRPr lang="en-US" sz="2900" dirty="0">
              <a:solidFill>
                <a:srgbClr val="001E4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16001" y="708660"/>
            <a:ext cx="7874000" cy="4381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024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6">
          <p15:clr>
            <a:srgbClr val="FBAE40"/>
          </p15:clr>
        </p15:guide>
        <p15:guide id="2" orient="horz" pos="57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5644"/>
            <a:r>
              <a:rPr lang="en-US">
                <a:solidFill>
                  <a:srgbClr val="FFFFFF"/>
                </a:solidFill>
              </a:rPr>
              <a:t>Quality Begins with Me   |   June 1, 2015  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7409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04552" y="371678"/>
            <a:ext cx="11176001" cy="266700"/>
          </a:xfrm>
        </p:spPr>
        <p:txBody>
          <a:bodyPr/>
          <a:lstStyle>
            <a:lvl1pPr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04552" y="624840"/>
            <a:ext cx="11176001" cy="266700"/>
          </a:xfrm>
        </p:spPr>
        <p:txBody>
          <a:bodyPr>
            <a:noAutofit/>
          </a:bodyPr>
          <a:lstStyle>
            <a:lvl1pPr marL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3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473" y="1330855"/>
            <a:ext cx="5589764" cy="4573323"/>
          </a:xfrm>
        </p:spPr>
        <p:txBody>
          <a:bodyPr rIns="151038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094237" y="1330855"/>
            <a:ext cx="5586236" cy="4573323"/>
          </a:xfrm>
        </p:spPr>
        <p:txBody>
          <a:bodyPr rIns="151038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5745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7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white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white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white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x-non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x-none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x-none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1450843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74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2DD2AF-518C-4210-A280-0EAC8342E9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5" y="198749"/>
            <a:ext cx="11725485" cy="314028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90361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343F60-D2F7-4B93-8816-1A8006118F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0"/>
          <a:ext cx="216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773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343F60-D2F7-4B93-8816-1A8006118F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1" y="1620"/>
                        <a:ext cx="216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701D805-F32D-4B17-B344-6E6F280E93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198749"/>
            <a:ext cx="11725485" cy="314028"/>
          </a:xfrm>
        </p:spPr>
        <p:txBody>
          <a:bodyPr/>
          <a:lstStyle>
            <a:lvl1pPr>
              <a:defRPr lang="x-none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x-none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33831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30650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79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0685181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737940-A4D7-4220-BB36-F45FC8845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0968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11/12/2018 10:54 AM Indi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476248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5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79968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50122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99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5395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Printed 12/6/2018 12:05 PM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 userDrawn="1"/>
        </p:nvSpPr>
        <p:spPr bwMode="auto">
          <a:xfrm>
            <a:off x="3095035" y="191793"/>
            <a:ext cx="2221229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0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60326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59328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4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2589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9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/14/2019 12:57 PM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3022884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52015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93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7859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1/21/2018 9:45 AM Eastern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3085966" y="153714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3607551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320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2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53070" y="6415250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53070" y="6540860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53070" y="666647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 dirty="0">
                <a:solidFill>
                  <a:srgbClr val="FFFFFF"/>
                </a:solidFill>
                <a:latin typeface="+mn-lt"/>
              </a:rPr>
              <a:t>Printed 11/12/2018 10:54 AM Indi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85967" y="153713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9919084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6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2037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Theinhardt Pan Light" panose="020B0404020101020102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Theinhardt Pan Light" panose="020B0404020101020102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7483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64000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0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49017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9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28/11/2019 21:21 India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3760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50570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4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24188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3B8909B-98C6-40F4-9B4F-B45318CABE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28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2978" y="-8612"/>
            <a:ext cx="10271968" cy="6866616"/>
          </a:xfrm>
          <a:prstGeom prst="rect">
            <a:avLst/>
          </a:prstGeom>
        </p:spPr>
      </p:pic>
      <p:sp>
        <p:nvSpPr>
          <p:cNvPr id="15" name="Freeform 406"/>
          <p:cNvSpPr>
            <a:spLocks/>
          </p:cNvSpPr>
          <p:nvPr/>
        </p:nvSpPr>
        <p:spPr bwMode="auto">
          <a:xfrm>
            <a:off x="9503910" y="2600478"/>
            <a:ext cx="2688090" cy="4257522"/>
          </a:xfrm>
          <a:custGeom>
            <a:avLst/>
            <a:gdLst>
              <a:gd name="T0" fmla="*/ 1665 w 1665"/>
              <a:gd name="T1" fmla="*/ 0 h 2839"/>
              <a:gd name="T2" fmla="*/ 0 w 1665"/>
              <a:gd name="T3" fmla="*/ 2839 h 2839"/>
              <a:gd name="T4" fmla="*/ 1665 w 1665"/>
              <a:gd name="T5" fmla="*/ 2839 h 2839"/>
              <a:gd name="T6" fmla="*/ 1665 w 1665"/>
              <a:gd name="T7" fmla="*/ 0 h 28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665" h="2839">
                <a:moveTo>
                  <a:pt x="1665" y="0"/>
                </a:moveTo>
                <a:lnTo>
                  <a:pt x="0" y="2839"/>
                </a:lnTo>
                <a:lnTo>
                  <a:pt x="1665" y="2839"/>
                </a:lnTo>
                <a:lnTo>
                  <a:pt x="166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pPr defTabSz="800059"/>
            <a:endParaRPr lang="en-US" sz="2589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4" y="-8612"/>
            <a:ext cx="7772638" cy="6866616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482248" y="-8612"/>
            <a:ext cx="3083062" cy="5334334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1"/>
            <a:ext cx="3078338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6579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DFD9E88-0D7F-4A3F-8B4C-6FCB0024F5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928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961" r="-405"/>
          <a:stretch/>
        </p:blipFill>
        <p:spPr>
          <a:xfrm>
            <a:off x="1501108" y="-3238"/>
            <a:ext cx="10271745" cy="6861239"/>
          </a:xfrm>
          <a:prstGeom prst="rect">
            <a:avLst/>
          </a:prstGeom>
        </p:spPr>
      </p:pic>
      <p:sp>
        <p:nvSpPr>
          <p:cNvPr id="16" name="Freeform 15"/>
          <p:cNvSpPr/>
          <p:nvPr/>
        </p:nvSpPr>
        <p:spPr>
          <a:xfrm>
            <a:off x="4" y="-8612"/>
            <a:ext cx="7772638" cy="6866616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4482248" y="-8612"/>
            <a:ext cx="3083062" cy="5334334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2"/>
            <a:ext cx="3078338" cy="219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154" y="5568083"/>
            <a:ext cx="2706126" cy="334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456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953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85153" y="236573"/>
            <a:ext cx="5572782" cy="108813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928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5154" y="3479990"/>
            <a:ext cx="3705189" cy="1923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68"/>
              </a:spcAft>
              <a:defRPr lang="x-none" sz="1250" cap="none" baseline="0">
                <a:solidFill>
                  <a:schemeClr val="accent4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x-none" noProof="0" dirty="0"/>
          </a:p>
        </p:txBody>
      </p:sp>
      <p:sp>
        <p:nvSpPr>
          <p:cNvPr id="26" name="Disclaimer-English (United States)"/>
          <p:cNvSpPr>
            <a:spLocks noChangeArrowheads="1"/>
          </p:cNvSpPr>
          <p:nvPr/>
        </p:nvSpPr>
        <p:spPr bwMode="black">
          <a:xfrm>
            <a:off x="485153" y="6185611"/>
            <a:ext cx="3078338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r>
              <a:rPr lang="en-GB" sz="714" dirty="0">
                <a:solidFill>
                  <a:schemeClr val="bg1">
                    <a:alpha val="50000"/>
                  </a:schemeClr>
                </a:solidFill>
              </a:rPr>
              <a:t>Confidential and proprietary: Any use of this material without specific permission of McKinsey &amp; Company is strictly prohibite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85154" y="6197572"/>
            <a:ext cx="2986314" cy="21980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en-GB" sz="714" dirty="0">
                <a:solidFill>
                  <a:schemeClr val="accent4">
                    <a:alpha val="50000"/>
                  </a:schemeClr>
                </a:solidFill>
                <a:latin typeface="+mn-lt"/>
              </a:rPr>
              <a:t>Confidential and proprietary: Any use of this material without specific permission of McKinsey &amp; Company is strictly prohibite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154" y="5565256"/>
            <a:ext cx="2706126" cy="337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28581" y="1"/>
            <a:ext cx="5363419" cy="6861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684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13052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18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1934B3-A8AF-4EA6-B92D-4382B84C88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6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3763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9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1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66" y="0"/>
            <a:ext cx="12173235" cy="6868588"/>
          </a:xfrm>
          <a:prstGeom prst="rect">
            <a:avLst/>
          </a:prstGeom>
        </p:spPr>
      </p:pic>
      <p:sp>
        <p:nvSpPr>
          <p:cNvPr id="10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338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3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baseline="0" noProof="0" dirty="0">
                <a:solidFill>
                  <a:schemeClr val="accent2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170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6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4" y="1652140"/>
            <a:ext cx="5412245" cy="14553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57936" y="1652140"/>
            <a:ext cx="5457001" cy="1455347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728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6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60591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79535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284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" y="-3342"/>
            <a:ext cx="12179952" cy="6864691"/>
          </a:xfrm>
          <a:prstGeom prst="rect">
            <a:avLst/>
          </a:prstGeom>
        </p:spPr>
      </p:pic>
      <p:sp>
        <p:nvSpPr>
          <p:cNvPr id="14" name="Freeform 180"/>
          <p:cNvSpPr>
            <a:spLocks/>
          </p:cNvSpPr>
          <p:nvPr/>
        </p:nvSpPr>
        <p:spPr bwMode="auto">
          <a:xfrm>
            <a:off x="3175" y="0"/>
            <a:ext cx="8102980" cy="6875591"/>
          </a:xfrm>
          <a:custGeom>
            <a:avLst/>
            <a:gdLst>
              <a:gd name="T0" fmla="*/ 2917 w 2917"/>
              <a:gd name="T1" fmla="*/ 0 h 2476"/>
              <a:gd name="T2" fmla="*/ 0 w 2917"/>
              <a:gd name="T3" fmla="*/ 0 h 2476"/>
              <a:gd name="T4" fmla="*/ 0 w 2917"/>
              <a:gd name="T5" fmla="*/ 2476 h 2476"/>
              <a:gd name="T6" fmla="*/ 1480 w 2917"/>
              <a:gd name="T7" fmla="*/ 2476 h 2476"/>
              <a:gd name="T8" fmla="*/ 2917 w 2917"/>
              <a:gd name="T9" fmla="*/ 0 h 2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17" h="2476">
                <a:moveTo>
                  <a:pt x="2917" y="0"/>
                </a:moveTo>
                <a:lnTo>
                  <a:pt x="0" y="0"/>
                </a:lnTo>
                <a:lnTo>
                  <a:pt x="0" y="2476"/>
                </a:lnTo>
                <a:lnTo>
                  <a:pt x="1480" y="2476"/>
                </a:lnTo>
                <a:lnTo>
                  <a:pt x="291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15" name="Freeform 182"/>
          <p:cNvSpPr>
            <a:spLocks/>
          </p:cNvSpPr>
          <p:nvPr/>
        </p:nvSpPr>
        <p:spPr bwMode="auto">
          <a:xfrm>
            <a:off x="3179" y="4550942"/>
            <a:ext cx="1382895" cy="2310376"/>
          </a:xfrm>
          <a:custGeom>
            <a:avLst/>
            <a:gdLst>
              <a:gd name="T0" fmla="*/ 0 w 496"/>
              <a:gd name="T1" fmla="*/ 0 h 832"/>
              <a:gd name="T2" fmla="*/ 496 w 496"/>
              <a:gd name="T3" fmla="*/ 832 h 832"/>
              <a:gd name="T4" fmla="*/ 0 w 496"/>
              <a:gd name="T5" fmla="*/ 832 h 832"/>
              <a:gd name="T6" fmla="*/ 0 w 496"/>
              <a:gd name="T7" fmla="*/ 0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6" h="832">
                <a:moveTo>
                  <a:pt x="0" y="0"/>
                </a:moveTo>
                <a:lnTo>
                  <a:pt x="496" y="832"/>
                </a:lnTo>
                <a:lnTo>
                  <a:pt x="0" y="83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16" name="Freeform 181"/>
          <p:cNvSpPr>
            <a:spLocks/>
          </p:cNvSpPr>
          <p:nvPr/>
        </p:nvSpPr>
        <p:spPr bwMode="auto">
          <a:xfrm>
            <a:off x="9203049" y="1620831"/>
            <a:ext cx="3000229" cy="5237170"/>
          </a:xfrm>
          <a:custGeom>
            <a:avLst/>
            <a:gdLst>
              <a:gd name="T0" fmla="*/ 793 w 793"/>
              <a:gd name="T1" fmla="*/ 0 h 1388"/>
              <a:gd name="T2" fmla="*/ 0 w 793"/>
              <a:gd name="T3" fmla="*/ 1388 h 1388"/>
              <a:gd name="T4" fmla="*/ 793 w 793"/>
              <a:gd name="T5" fmla="*/ 1388 h 1388"/>
              <a:gd name="T6" fmla="*/ 793 w 793"/>
              <a:gd name="T7" fmla="*/ 0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93" h="1388">
                <a:moveTo>
                  <a:pt x="793" y="0"/>
                </a:moveTo>
                <a:lnTo>
                  <a:pt x="0" y="1388"/>
                </a:lnTo>
                <a:lnTo>
                  <a:pt x="793" y="1388"/>
                </a:lnTo>
                <a:lnTo>
                  <a:pt x="79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0009" tIns="40004" rIns="80009" bIns="40004" numCol="1" anchor="t" anchorCtr="0" compatLnSpc="1">
            <a:prstTxWarp prst="textNoShape">
              <a:avLst/>
            </a:prstTxWarp>
          </a:bodyPr>
          <a:lstStyle/>
          <a:p>
            <a:endParaRPr lang="en-US" sz="1544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155" y="234866"/>
            <a:ext cx="5572782" cy="1088136"/>
          </a:xfrm>
        </p:spPr>
        <p:txBody>
          <a:bodyPr/>
          <a:lstStyle>
            <a:lvl1pPr>
              <a:lnSpc>
                <a:spcPct val="90000"/>
              </a:lnSpc>
              <a:spcBef>
                <a:spcPts val="535"/>
              </a:spcBef>
              <a:spcAft>
                <a:spcPts val="535"/>
              </a:spcAft>
              <a:defRPr sz="3928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1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2599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308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F69CE2-47D9-4C8B-9081-285F9C8DBE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" y="-3342"/>
            <a:ext cx="12179952" cy="6864691"/>
          </a:xfrm>
          <a:prstGeom prst="rect">
            <a:avLst/>
          </a:prstGeom>
        </p:spPr>
      </p:pic>
      <p:sp>
        <p:nvSpPr>
          <p:cNvPr id="9" name="Freeform 8"/>
          <p:cNvSpPr/>
          <p:nvPr/>
        </p:nvSpPr>
        <p:spPr>
          <a:xfrm>
            <a:off x="-1069" y="324"/>
            <a:ext cx="12194137" cy="6857352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10326108" y="1"/>
            <a:ext cx="1865892" cy="431645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5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3" y="234865"/>
            <a:ext cx="9304728" cy="357236"/>
          </a:xfrm>
        </p:spPr>
        <p:txBody>
          <a:bodyPr wrap="square">
            <a:spAutoFit/>
          </a:bodyPr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9761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2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-3342"/>
            <a:ext cx="12183127" cy="6864691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>
            <a:off x="-1069" y="324"/>
            <a:ext cx="12194137" cy="6857352"/>
          </a:xfrm>
          <a:custGeom>
            <a:avLst/>
            <a:gdLst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11914343 w 11949112"/>
              <a:gd name="connsiteY3" fmla="*/ 1756112 h 6743150"/>
              <a:gd name="connsiteX4" fmla="*/ 9019557 w 11949112"/>
              <a:gd name="connsiteY4" fmla="*/ 6743150 h 6743150"/>
              <a:gd name="connsiteX5" fmla="*/ 155448 w 11949112"/>
              <a:gd name="connsiteY5" fmla="*/ 6743150 h 6743150"/>
              <a:gd name="connsiteX6" fmla="*/ 155448 w 11949112"/>
              <a:gd name="connsiteY6" fmla="*/ 6740994 h 6743150"/>
              <a:gd name="connsiteX7" fmla="*/ 0 w 11949112"/>
              <a:gd name="connsiteY7" fmla="*/ 6740994 h 6743150"/>
              <a:gd name="connsiteX8" fmla="*/ 0 w 11949112"/>
              <a:gd name="connsiteY8" fmla="*/ 0 h 6743150"/>
              <a:gd name="connsiteX0" fmla="*/ 0 w 11949112"/>
              <a:gd name="connsiteY0" fmla="*/ 0 h 6743150"/>
              <a:gd name="connsiteX1" fmla="*/ 11949112 w 11949112"/>
              <a:gd name="connsiteY1" fmla="*/ 0 h 6743150"/>
              <a:gd name="connsiteX2" fmla="*/ 11949112 w 11949112"/>
              <a:gd name="connsiteY2" fmla="*/ 1679583 h 6743150"/>
              <a:gd name="connsiteX3" fmla="*/ 9019557 w 11949112"/>
              <a:gd name="connsiteY3" fmla="*/ 6743150 h 6743150"/>
              <a:gd name="connsiteX4" fmla="*/ 155448 w 11949112"/>
              <a:gd name="connsiteY4" fmla="*/ 6743150 h 6743150"/>
              <a:gd name="connsiteX5" fmla="*/ 155448 w 11949112"/>
              <a:gd name="connsiteY5" fmla="*/ 6740994 h 6743150"/>
              <a:gd name="connsiteX6" fmla="*/ 0 w 11949112"/>
              <a:gd name="connsiteY6" fmla="*/ 6740994 h 6743150"/>
              <a:gd name="connsiteX7" fmla="*/ 0 w 11949112"/>
              <a:gd name="connsiteY7" fmla="*/ 0 h 6743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49112" h="6743150">
                <a:moveTo>
                  <a:pt x="0" y="0"/>
                </a:moveTo>
                <a:lnTo>
                  <a:pt x="11949112" y="0"/>
                </a:lnTo>
                <a:lnTo>
                  <a:pt x="11949112" y="1679583"/>
                </a:lnTo>
                <a:lnTo>
                  <a:pt x="9019557" y="6743150"/>
                </a:lnTo>
                <a:lnTo>
                  <a:pt x="155448" y="6743150"/>
                </a:lnTo>
                <a:lnTo>
                  <a:pt x="155448" y="6740994"/>
                </a:lnTo>
                <a:lnTo>
                  <a:pt x="0" y="67409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10326108" y="1"/>
            <a:ext cx="1865892" cy="4316453"/>
          </a:xfrm>
          <a:custGeom>
            <a:avLst/>
            <a:gdLst>
              <a:gd name="connsiteX0" fmla="*/ 0 w 1802982"/>
              <a:gd name="connsiteY0" fmla="*/ 0 h 4230523"/>
              <a:gd name="connsiteX1" fmla="*/ 170360 w 1802982"/>
              <a:gd name="connsiteY1" fmla="*/ 0 h 4230523"/>
              <a:gd name="connsiteX2" fmla="*/ 1802982 w 1802982"/>
              <a:gd name="connsiteY2" fmla="*/ 0 h 4230523"/>
              <a:gd name="connsiteX3" fmla="*/ 1802982 w 1802982"/>
              <a:gd name="connsiteY3" fmla="*/ 4230523 h 4230523"/>
              <a:gd name="connsiteX4" fmla="*/ 170360 w 1802982"/>
              <a:gd name="connsiteY4" fmla="*/ 1346762 h 4230523"/>
              <a:gd name="connsiteX5" fmla="*/ 0 w 1802982"/>
              <a:gd name="connsiteY5" fmla="*/ 1050586 h 4230523"/>
              <a:gd name="connsiteX6" fmla="*/ 0 w 1802982"/>
              <a:gd name="connsiteY6" fmla="*/ 0 h 4230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02982" h="4230523">
                <a:moveTo>
                  <a:pt x="0" y="0"/>
                </a:moveTo>
                <a:lnTo>
                  <a:pt x="170360" y="0"/>
                </a:lnTo>
                <a:lnTo>
                  <a:pt x="1802982" y="0"/>
                </a:lnTo>
                <a:lnTo>
                  <a:pt x="1802982" y="4230523"/>
                </a:lnTo>
                <a:lnTo>
                  <a:pt x="170360" y="1346762"/>
                </a:lnTo>
                <a:lnTo>
                  <a:pt x="0" y="105058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9304730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16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7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85930" y="1652140"/>
            <a:ext cx="9303952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1375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56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5099950" y="2"/>
            <a:ext cx="7092054" cy="6858001"/>
          </a:xfrm>
          <a:custGeom>
            <a:avLst/>
            <a:gdLst>
              <a:gd name="connsiteX0" fmla="*/ 0 w 6950767"/>
              <a:gd name="connsiteY0" fmla="*/ 0 h 6721476"/>
              <a:gd name="connsiteX1" fmla="*/ 6694714 w 6950767"/>
              <a:gd name="connsiteY1" fmla="*/ 0 h 6721476"/>
              <a:gd name="connsiteX2" fmla="*/ 6694714 w 6950767"/>
              <a:gd name="connsiteY2" fmla="*/ 1 h 6721476"/>
              <a:gd name="connsiteX3" fmla="*/ 6950767 w 6950767"/>
              <a:gd name="connsiteY3" fmla="*/ 1 h 6721476"/>
              <a:gd name="connsiteX4" fmla="*/ 6950767 w 6950767"/>
              <a:gd name="connsiteY4" fmla="*/ 6721476 h 6721476"/>
              <a:gd name="connsiteX5" fmla="*/ 6950765 w 6950767"/>
              <a:gd name="connsiteY5" fmla="*/ 6721476 h 6721476"/>
              <a:gd name="connsiteX6" fmla="*/ 6950765 w 6950767"/>
              <a:gd name="connsiteY6" fmla="*/ 6718239 h 6721476"/>
              <a:gd name="connsiteX7" fmla="*/ 32578 w 6950767"/>
              <a:gd name="connsiteY7" fmla="*/ 6718239 h 6721476"/>
              <a:gd name="connsiteX8" fmla="*/ 1977107 w 6950767"/>
              <a:gd name="connsiteY8" fmla="*/ 3360782 h 6721476"/>
              <a:gd name="connsiteX9" fmla="*/ 0 w 6950767"/>
              <a:gd name="connsiteY9" fmla="*/ 0 h 6721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950767" h="6721476">
                <a:moveTo>
                  <a:pt x="0" y="0"/>
                </a:moveTo>
                <a:lnTo>
                  <a:pt x="6694714" y="0"/>
                </a:lnTo>
                <a:lnTo>
                  <a:pt x="6694714" y="1"/>
                </a:lnTo>
                <a:lnTo>
                  <a:pt x="6950767" y="1"/>
                </a:lnTo>
                <a:lnTo>
                  <a:pt x="6950767" y="6721476"/>
                </a:lnTo>
                <a:lnTo>
                  <a:pt x="6950765" y="6721476"/>
                </a:lnTo>
                <a:lnTo>
                  <a:pt x="6950765" y="6718239"/>
                </a:lnTo>
                <a:lnTo>
                  <a:pt x="32578" y="6718239"/>
                </a:lnTo>
                <a:lnTo>
                  <a:pt x="1977107" y="3360782"/>
                </a:lnTo>
                <a:cubicBezTo>
                  <a:pt x="1303783" y="2240521"/>
                  <a:pt x="673324" y="1120261"/>
                  <a:pt x="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589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5933" y="1652140"/>
            <a:ext cx="5572004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07110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48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18517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5930" y="1652140"/>
            <a:ext cx="9303952" cy="145534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2731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yan Backgrou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80" name="think-cell Slide" r:id="rId5" imgW="439" imgH="438" progId="TCLayout.ActiveDocument.1">
                  <p:embed/>
                </p:oleObj>
              </mc:Choice>
              <mc:Fallback>
                <p:oleObj name="think-cell Slide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bg1"/>
                </a:solidFill>
              </a:rPr>
              <a:pPr lvl="0"/>
              <a:t>‹#›</a:t>
            </a:fld>
            <a:endParaRPr lang="x-none" sz="714" dirty="0">
              <a:solidFill>
                <a:schemeClr val="bg1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7833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04" name="think-cell Slide" r:id="rId6" imgW="439" imgH="438" progId="TCLayout.ActiveDocument.1">
                  <p:embed/>
                </p:oleObj>
              </mc:Choice>
              <mc:Fallback>
                <p:oleObj name="think-cell Slide" r:id="rId6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B3CF07E-8A47-4BA6-9699-5E070A0C6B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989" cy="1102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321" b="0" i="0" baseline="0" dirty="0" err="1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9161942" y="1"/>
            <a:ext cx="3065052" cy="6069025"/>
          </a:xfrm>
          <a:custGeom>
            <a:avLst/>
            <a:gdLst>
              <a:gd name="connsiteX0" fmla="*/ 3111190 w 3111190"/>
              <a:gd name="connsiteY0" fmla="*/ 6077415 h 6077415"/>
              <a:gd name="connsiteX1" fmla="*/ 0 w 3111190"/>
              <a:gd name="connsiteY1" fmla="*/ 780585 h 6077415"/>
              <a:gd name="connsiteX2" fmla="*/ 0 w 3111190"/>
              <a:gd name="connsiteY2" fmla="*/ 0 h 6077415"/>
              <a:gd name="connsiteX3" fmla="*/ 3055434 w 3111190"/>
              <a:gd name="connsiteY3" fmla="*/ 0 h 6077415"/>
              <a:gd name="connsiteX4" fmla="*/ 3055434 w 3111190"/>
              <a:gd name="connsiteY4" fmla="*/ 6066263 h 6077415"/>
              <a:gd name="connsiteX0" fmla="*/ 3065051 w 3065051"/>
              <a:gd name="connsiteY0" fmla="*/ 6069026 h 6069026"/>
              <a:gd name="connsiteX1" fmla="*/ 0 w 3065051"/>
              <a:gd name="connsiteY1" fmla="*/ 780585 h 6069026"/>
              <a:gd name="connsiteX2" fmla="*/ 0 w 3065051"/>
              <a:gd name="connsiteY2" fmla="*/ 0 h 6069026"/>
              <a:gd name="connsiteX3" fmla="*/ 3055434 w 3065051"/>
              <a:gd name="connsiteY3" fmla="*/ 0 h 6069026"/>
              <a:gd name="connsiteX4" fmla="*/ 3055434 w 3065051"/>
              <a:gd name="connsiteY4" fmla="*/ 6066263 h 6069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051" h="6069026">
                <a:moveTo>
                  <a:pt x="3065051" y="6069026"/>
                </a:moveTo>
                <a:lnTo>
                  <a:pt x="0" y="780585"/>
                </a:lnTo>
                <a:lnTo>
                  <a:pt x="0" y="0"/>
                </a:lnTo>
                <a:lnTo>
                  <a:pt x="3055434" y="0"/>
                </a:lnTo>
                <a:lnTo>
                  <a:pt x="3055434" y="6066263"/>
                </a:ln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44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/>
        </p:nvSpPr>
        <p:spPr bwMode="gray">
          <a:xfrm>
            <a:off x="11652053" y="6648321"/>
            <a:ext cx="112210" cy="1099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714" smtClean="0">
                <a:solidFill>
                  <a:schemeClr val="accent2"/>
                </a:solidFill>
              </a:rPr>
              <a:pPr lvl="0"/>
              <a:t>‹#›</a:t>
            </a:fld>
            <a:endParaRPr lang="x-none" sz="714" dirty="0">
              <a:solidFill>
                <a:schemeClr val="accent2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607821" y="6648321"/>
            <a:ext cx="907301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65783"/>
            <a:r>
              <a:rPr lang="en-US" sz="714" kern="1200" baseline="0" noProof="0" dirty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2" y="1652140"/>
            <a:ext cx="9304730" cy="1455347"/>
          </a:xfrm>
        </p:spPr>
        <p:txBody>
          <a:bodyPr wrap="square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6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6181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546" y="3063925"/>
            <a:ext cx="5668909" cy="701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28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4"/>
          </a:xfrm>
          <a:prstGeom prst="rect">
            <a:avLst/>
          </a:prstGeom>
        </p:spPr>
        <p:txBody>
          <a:bodyPr/>
          <a:lstStyle/>
          <a:p>
            <a:fld id="{44B0E816-8CD6-F94E-AB9B-3C9267DCF5A8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1" cy="3651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1" y="6356351"/>
            <a:ext cx="2743200" cy="365124"/>
          </a:xfrm>
          <a:prstGeom prst="rect">
            <a:avLst/>
          </a:prstGeom>
        </p:spPr>
        <p:txBody>
          <a:bodyPr/>
          <a:lstStyle/>
          <a:p>
            <a:fld id="{9136EBB5-F8A9-B542-A0D1-2F01AC9A1C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0908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OC ThinkCell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6" y="1595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2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595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 txBox="1">
            <a:spLocks/>
          </p:cNvSpPr>
          <p:nvPr/>
        </p:nvSpPr>
        <p:spPr>
          <a:xfrm>
            <a:off x="11557381" y="6492661"/>
            <a:ext cx="125034" cy="12311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algn="r">
              <a:defRPr lang="en-GB" sz="800" smtClean="0">
                <a:solidFill>
                  <a:schemeClr val="tx2"/>
                </a:solidFill>
              </a:defRPr>
            </a:lvl1pPr>
          </a:lstStyle>
          <a:p>
            <a:pPr lvl="0"/>
            <a:fld id="{42C328C1-A84F-4A39-A664-DBA00541A8C6}" type="slidenum">
              <a:rPr lang="en-US" sz="700" smtClean="0">
                <a:solidFill>
                  <a:schemeClr val="bg1"/>
                </a:solidFill>
              </a:rPr>
              <a:pPr lvl="0"/>
              <a:t>‹#›</a:t>
            </a:fld>
            <a:endParaRPr lang="en-US" sz="70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0908" y="6501811"/>
            <a:ext cx="951603" cy="11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709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2"/>
          <p:cNvGrpSpPr/>
          <p:nvPr/>
        </p:nvGrpSpPr>
        <p:grpSpPr>
          <a:xfrm>
            <a:off x="9922144" y="6565926"/>
            <a:ext cx="2442923" cy="143565"/>
            <a:chOff x="0" y="0"/>
            <a:chExt cx="1832192" cy="107672"/>
          </a:xfrm>
        </p:grpSpPr>
        <p:sp>
          <p:nvSpPr>
            <p:cNvPr id="30" name="Shape 30"/>
            <p:cNvSpPr/>
            <p:nvPr/>
          </p:nvSpPr>
          <p:spPr>
            <a:xfrm>
              <a:off x="776197" y="12511"/>
              <a:ext cx="1055995" cy="943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>
                <a:spcBef>
                  <a:spcPts val="600"/>
                </a:spcBef>
                <a:defRPr sz="700" b="1">
                  <a:latin typeface="Helvetic neue"/>
                  <a:ea typeface="Helvetic neue"/>
                  <a:cs typeface="Helvetic neue"/>
                  <a:sym typeface="Helvetic neue"/>
                </a:defRPr>
              </a:lvl1pPr>
            </a:lstStyle>
            <a:p>
              <a:pPr>
                <a:defRPr sz="1800" b="0"/>
              </a:pPr>
              <a:r>
                <a:rPr sz="817" b="1"/>
                <a:t>| Design Studio</a:t>
              </a:r>
            </a:p>
          </p:txBody>
        </p:sp>
        <p:sp>
          <p:nvSpPr>
            <p:cNvPr id="31" name="Shape 31"/>
            <p:cNvSpPr/>
            <p:nvPr/>
          </p:nvSpPr>
          <p:spPr>
            <a:xfrm>
              <a:off x="0" y="0"/>
              <a:ext cx="1304195" cy="1076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>
                <a:spcBef>
                  <a:spcPts val="700"/>
                </a:spcBef>
                <a:defRPr sz="1800"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pPr>
              <a:r>
                <a:rPr sz="933">
                  <a:solidFill>
                    <a:srgbClr val="808080"/>
                  </a:solidFill>
                </a:rPr>
                <a:t>McKinsey &amp; Company</a:t>
              </a:r>
            </a:p>
          </p:txBody>
        </p:sp>
      </p:grpSp>
      <p:grpSp>
        <p:nvGrpSpPr>
          <p:cNvPr id="35" name="Group 35"/>
          <p:cNvGrpSpPr/>
          <p:nvPr/>
        </p:nvGrpSpPr>
        <p:grpSpPr>
          <a:xfrm>
            <a:off x="-1" y="0"/>
            <a:ext cx="12207399" cy="6871028"/>
            <a:chOff x="-1" y="0"/>
            <a:chExt cx="9155547" cy="5153270"/>
          </a:xfrm>
        </p:grpSpPr>
        <p:sp>
          <p:nvSpPr>
            <p:cNvPr id="33" name="Shape 33"/>
            <p:cNvSpPr/>
            <p:nvPr/>
          </p:nvSpPr>
          <p:spPr>
            <a:xfrm>
              <a:off x="-1" y="0"/>
              <a:ext cx="9155547" cy="5153270"/>
            </a:xfrm>
            <a:prstGeom prst="rect">
              <a:avLst/>
            </a:prstGeom>
            <a:solidFill>
              <a:srgbClr val="00ACE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>
                <a:defRPr>
                  <a:latin typeface="Arial"/>
                  <a:ea typeface="Arial"/>
                  <a:cs typeface="Arial"/>
                  <a:sym typeface="Arial"/>
                </a:defRPr>
              </a:pPr>
              <a:endParaRPr sz="1867"/>
            </a:p>
          </p:txBody>
        </p:sp>
        <p:sp>
          <p:nvSpPr>
            <p:cNvPr id="34" name="Shape 34"/>
            <p:cNvSpPr/>
            <p:nvPr/>
          </p:nvSpPr>
          <p:spPr>
            <a:xfrm>
              <a:off x="-1" y="2468889"/>
              <a:ext cx="9155547" cy="2154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sz="1867"/>
                <a:t>        </a:t>
              </a:r>
            </a:p>
          </p:txBody>
        </p:sp>
      </p:grpSp>
      <p:sp>
        <p:nvSpPr>
          <p:cNvPr id="36" name="Shape 36"/>
          <p:cNvSpPr/>
          <p:nvPr/>
        </p:nvSpPr>
        <p:spPr>
          <a:xfrm>
            <a:off x="10354452" y="6515124"/>
            <a:ext cx="1433143" cy="1435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ts val="700"/>
              </a:spcBef>
              <a:defRPr sz="1800">
                <a:solidFill>
                  <a:schemeClr val="accent1">
                    <a:satOff val="-11808"/>
                    <a:lumOff val="26568"/>
                  </a:schemeClr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sz="933"/>
              <a:t>McKinsey &amp; Company |</a:t>
            </a:r>
          </a:p>
        </p:txBody>
      </p:sp>
      <p:sp>
        <p:nvSpPr>
          <p:cNvPr id="37" name="Shape 37"/>
          <p:cNvSpPr>
            <a:spLocks noGrp="1"/>
          </p:cNvSpPr>
          <p:nvPr>
            <p:ph type="sldNum" sz="quarter" idx="2"/>
          </p:nvPr>
        </p:nvSpPr>
        <p:spPr>
          <a:xfrm>
            <a:off x="9158344" y="6409920"/>
            <a:ext cx="2844801" cy="37253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accent1">
                    <a:satOff val="-11808"/>
                    <a:lumOff val="26568"/>
                  </a:schemeClr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9436356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9E360-A243-48EA-9916-5F7D7763C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340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"/>
            <a:ext cx="12192000" cy="6857596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153071" y="641525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153070" y="6540861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8/11/2019 21:21 Indi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153071" y="6666473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1/21/2018 9:45 AM Eastern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085967" y="1463556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/>
        </p:nvSpPr>
        <p:spPr bwMode="auto">
          <a:xfrm>
            <a:off x="3085966" y="153714"/>
            <a:ext cx="2961770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32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610418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6289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6.v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oleObject" Target="../embeddings/oleObject36.bin"/><Relationship Id="rId3" Type="http://schemas.openxmlformats.org/officeDocument/2006/relationships/slideLayout" Target="../slideLayouts/slideLayout55.xml"/><Relationship Id="rId21" Type="http://schemas.openxmlformats.org/officeDocument/2006/relationships/tags" Target="../tags/tag242.xml"/><Relationship Id="rId7" Type="http://schemas.openxmlformats.org/officeDocument/2006/relationships/theme" Target="../theme/theme10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tags" Target="../tags/tag246.xml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ags" Target="../tags/tag232.xml"/><Relationship Id="rId24" Type="http://schemas.openxmlformats.org/officeDocument/2006/relationships/tags" Target="../tags/tag245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236.xml"/><Relationship Id="rId23" Type="http://schemas.openxmlformats.org/officeDocument/2006/relationships/tags" Target="../tags/tag244.xml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4" Type="http://schemas.openxmlformats.org/officeDocument/2006/relationships/slideLayout" Target="../slideLayouts/slideLayout56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tags" Target="../tags/tag262.xml"/><Relationship Id="rId18" Type="http://schemas.openxmlformats.org/officeDocument/2006/relationships/tags" Target="../tags/tag267.xml"/><Relationship Id="rId26" Type="http://schemas.openxmlformats.org/officeDocument/2006/relationships/tags" Target="../tags/tag275.xml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270.xml"/><Relationship Id="rId34" Type="http://schemas.openxmlformats.org/officeDocument/2006/relationships/tags" Target="../tags/tag283.xml"/><Relationship Id="rId7" Type="http://schemas.openxmlformats.org/officeDocument/2006/relationships/tags" Target="../tags/tag256.xml"/><Relationship Id="rId12" Type="http://schemas.openxmlformats.org/officeDocument/2006/relationships/tags" Target="../tags/tag261.xml"/><Relationship Id="rId17" Type="http://schemas.openxmlformats.org/officeDocument/2006/relationships/tags" Target="../tags/tag266.xml"/><Relationship Id="rId25" Type="http://schemas.openxmlformats.org/officeDocument/2006/relationships/tags" Target="../tags/tag274.xml"/><Relationship Id="rId33" Type="http://schemas.openxmlformats.org/officeDocument/2006/relationships/tags" Target="../tags/tag282.xml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265.xml"/><Relationship Id="rId20" Type="http://schemas.openxmlformats.org/officeDocument/2006/relationships/tags" Target="../tags/tag269.xml"/><Relationship Id="rId29" Type="http://schemas.openxmlformats.org/officeDocument/2006/relationships/tags" Target="../tags/tag278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24" Type="http://schemas.openxmlformats.org/officeDocument/2006/relationships/tags" Target="../tags/tag273.xml"/><Relationship Id="rId32" Type="http://schemas.openxmlformats.org/officeDocument/2006/relationships/tags" Target="../tags/tag281.xml"/><Relationship Id="rId5" Type="http://schemas.openxmlformats.org/officeDocument/2006/relationships/vmlDrawing" Target="../drawings/vmlDrawing41.vml"/><Relationship Id="rId15" Type="http://schemas.openxmlformats.org/officeDocument/2006/relationships/tags" Target="../tags/tag264.xml"/><Relationship Id="rId23" Type="http://schemas.openxmlformats.org/officeDocument/2006/relationships/tags" Target="../tags/tag272.xml"/><Relationship Id="rId28" Type="http://schemas.openxmlformats.org/officeDocument/2006/relationships/tags" Target="../tags/tag277.xml"/><Relationship Id="rId36" Type="http://schemas.openxmlformats.org/officeDocument/2006/relationships/image" Target="../media/image1.emf"/><Relationship Id="rId10" Type="http://schemas.openxmlformats.org/officeDocument/2006/relationships/tags" Target="../tags/tag259.xml"/><Relationship Id="rId19" Type="http://schemas.openxmlformats.org/officeDocument/2006/relationships/tags" Target="../tags/tag268.xml"/><Relationship Id="rId31" Type="http://schemas.openxmlformats.org/officeDocument/2006/relationships/tags" Target="../tags/tag280.xml"/><Relationship Id="rId4" Type="http://schemas.openxmlformats.org/officeDocument/2006/relationships/theme" Target="../theme/theme11.xml"/><Relationship Id="rId9" Type="http://schemas.openxmlformats.org/officeDocument/2006/relationships/tags" Target="../tags/tag258.xml"/><Relationship Id="rId14" Type="http://schemas.openxmlformats.org/officeDocument/2006/relationships/tags" Target="../tags/tag263.xml"/><Relationship Id="rId22" Type="http://schemas.openxmlformats.org/officeDocument/2006/relationships/tags" Target="../tags/tag271.xml"/><Relationship Id="rId27" Type="http://schemas.openxmlformats.org/officeDocument/2006/relationships/tags" Target="../tags/tag276.xml"/><Relationship Id="rId30" Type="http://schemas.openxmlformats.org/officeDocument/2006/relationships/tags" Target="../tags/tag279.xml"/><Relationship Id="rId35" Type="http://schemas.openxmlformats.org/officeDocument/2006/relationships/oleObject" Target="../embeddings/oleObject41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tags" Target="../tags/tag295.xml"/><Relationship Id="rId18" Type="http://schemas.openxmlformats.org/officeDocument/2006/relationships/tags" Target="../tags/tag300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303.xml"/><Relationship Id="rId7" Type="http://schemas.openxmlformats.org/officeDocument/2006/relationships/tags" Target="../tags/tag289.xml"/><Relationship Id="rId12" Type="http://schemas.openxmlformats.org/officeDocument/2006/relationships/tags" Target="../tags/tag294.xml"/><Relationship Id="rId17" Type="http://schemas.openxmlformats.org/officeDocument/2006/relationships/tags" Target="../tags/tag299.xml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298.xml"/><Relationship Id="rId20" Type="http://schemas.openxmlformats.org/officeDocument/2006/relationships/tags" Target="../tags/tag302.xml"/><Relationship Id="rId1" Type="http://schemas.openxmlformats.org/officeDocument/2006/relationships/slideLayout" Target="../slideLayouts/slideLayout62.xml"/><Relationship Id="rId6" Type="http://schemas.openxmlformats.org/officeDocument/2006/relationships/tags" Target="../tags/tag288.xml"/><Relationship Id="rId11" Type="http://schemas.openxmlformats.org/officeDocument/2006/relationships/tags" Target="../tags/tag293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44.vml"/><Relationship Id="rId15" Type="http://schemas.openxmlformats.org/officeDocument/2006/relationships/tags" Target="../tags/tag297.xml"/><Relationship Id="rId23" Type="http://schemas.openxmlformats.org/officeDocument/2006/relationships/oleObject" Target="../embeddings/oleObject44.bin"/><Relationship Id="rId10" Type="http://schemas.openxmlformats.org/officeDocument/2006/relationships/tags" Target="../tags/tag292.xml"/><Relationship Id="rId19" Type="http://schemas.openxmlformats.org/officeDocument/2006/relationships/tags" Target="../tags/tag301.xml"/><Relationship Id="rId4" Type="http://schemas.openxmlformats.org/officeDocument/2006/relationships/theme" Target="../theme/theme12.xml"/><Relationship Id="rId9" Type="http://schemas.openxmlformats.org/officeDocument/2006/relationships/tags" Target="../tags/tag291.xml"/><Relationship Id="rId14" Type="http://schemas.openxmlformats.org/officeDocument/2006/relationships/tags" Target="../tags/tag296.xml"/><Relationship Id="rId22" Type="http://schemas.openxmlformats.org/officeDocument/2006/relationships/tags" Target="../tags/tag30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13" Type="http://schemas.openxmlformats.org/officeDocument/2006/relationships/tags" Target="../tags/tag316.xml"/><Relationship Id="rId18" Type="http://schemas.openxmlformats.org/officeDocument/2006/relationships/tags" Target="../tags/tag321.xml"/><Relationship Id="rId26" Type="http://schemas.openxmlformats.org/officeDocument/2006/relationships/tags" Target="../tags/tag329.xml"/><Relationship Id="rId3" Type="http://schemas.openxmlformats.org/officeDocument/2006/relationships/slideLayout" Target="../slideLayouts/slideLayout67.xml"/><Relationship Id="rId21" Type="http://schemas.openxmlformats.org/officeDocument/2006/relationships/tags" Target="../tags/tag324.xml"/><Relationship Id="rId34" Type="http://schemas.openxmlformats.org/officeDocument/2006/relationships/tags" Target="../tags/tag337.xml"/><Relationship Id="rId7" Type="http://schemas.openxmlformats.org/officeDocument/2006/relationships/tags" Target="../tags/tag310.xml"/><Relationship Id="rId12" Type="http://schemas.openxmlformats.org/officeDocument/2006/relationships/tags" Target="../tags/tag315.xml"/><Relationship Id="rId17" Type="http://schemas.openxmlformats.org/officeDocument/2006/relationships/tags" Target="../tags/tag320.xml"/><Relationship Id="rId25" Type="http://schemas.openxmlformats.org/officeDocument/2006/relationships/tags" Target="../tags/tag328.xml"/><Relationship Id="rId33" Type="http://schemas.openxmlformats.org/officeDocument/2006/relationships/tags" Target="../tags/tag336.xml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319.xml"/><Relationship Id="rId20" Type="http://schemas.openxmlformats.org/officeDocument/2006/relationships/tags" Target="../tags/tag323.xml"/><Relationship Id="rId29" Type="http://schemas.openxmlformats.org/officeDocument/2006/relationships/tags" Target="../tags/tag332.xml"/><Relationship Id="rId1" Type="http://schemas.openxmlformats.org/officeDocument/2006/relationships/slideLayout" Target="../slideLayouts/slideLayout65.xml"/><Relationship Id="rId6" Type="http://schemas.openxmlformats.org/officeDocument/2006/relationships/tags" Target="../tags/tag309.xml"/><Relationship Id="rId11" Type="http://schemas.openxmlformats.org/officeDocument/2006/relationships/tags" Target="../tags/tag314.xml"/><Relationship Id="rId24" Type="http://schemas.openxmlformats.org/officeDocument/2006/relationships/tags" Target="../tags/tag327.xml"/><Relationship Id="rId32" Type="http://schemas.openxmlformats.org/officeDocument/2006/relationships/tags" Target="../tags/tag335.xml"/><Relationship Id="rId5" Type="http://schemas.openxmlformats.org/officeDocument/2006/relationships/vmlDrawing" Target="../drawings/vmlDrawing47.vml"/><Relationship Id="rId15" Type="http://schemas.openxmlformats.org/officeDocument/2006/relationships/tags" Target="../tags/tag318.xml"/><Relationship Id="rId23" Type="http://schemas.openxmlformats.org/officeDocument/2006/relationships/tags" Target="../tags/tag326.xml"/><Relationship Id="rId28" Type="http://schemas.openxmlformats.org/officeDocument/2006/relationships/tags" Target="../tags/tag331.xml"/><Relationship Id="rId36" Type="http://schemas.openxmlformats.org/officeDocument/2006/relationships/image" Target="../media/image1.emf"/><Relationship Id="rId10" Type="http://schemas.openxmlformats.org/officeDocument/2006/relationships/tags" Target="../tags/tag313.xml"/><Relationship Id="rId19" Type="http://schemas.openxmlformats.org/officeDocument/2006/relationships/tags" Target="../tags/tag322.xml"/><Relationship Id="rId31" Type="http://schemas.openxmlformats.org/officeDocument/2006/relationships/tags" Target="../tags/tag334.xml"/><Relationship Id="rId4" Type="http://schemas.openxmlformats.org/officeDocument/2006/relationships/theme" Target="../theme/theme13.xml"/><Relationship Id="rId9" Type="http://schemas.openxmlformats.org/officeDocument/2006/relationships/tags" Target="../tags/tag312.xml"/><Relationship Id="rId14" Type="http://schemas.openxmlformats.org/officeDocument/2006/relationships/tags" Target="../tags/tag317.xml"/><Relationship Id="rId22" Type="http://schemas.openxmlformats.org/officeDocument/2006/relationships/tags" Target="../tags/tag325.xml"/><Relationship Id="rId27" Type="http://schemas.openxmlformats.org/officeDocument/2006/relationships/tags" Target="../tags/tag330.xml"/><Relationship Id="rId30" Type="http://schemas.openxmlformats.org/officeDocument/2006/relationships/tags" Target="../tags/tag333.xml"/><Relationship Id="rId35" Type="http://schemas.openxmlformats.org/officeDocument/2006/relationships/oleObject" Target="../embeddings/oleObject47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tags" Target="../tags/tag349.xml"/><Relationship Id="rId18" Type="http://schemas.openxmlformats.org/officeDocument/2006/relationships/tags" Target="../tags/tag354.xml"/><Relationship Id="rId26" Type="http://schemas.openxmlformats.org/officeDocument/2006/relationships/tags" Target="../tags/tag362.xml"/><Relationship Id="rId3" Type="http://schemas.openxmlformats.org/officeDocument/2006/relationships/slideLayout" Target="../slideLayouts/slideLayout70.xml"/><Relationship Id="rId21" Type="http://schemas.openxmlformats.org/officeDocument/2006/relationships/tags" Target="../tags/tag357.xml"/><Relationship Id="rId34" Type="http://schemas.openxmlformats.org/officeDocument/2006/relationships/tags" Target="../tags/tag370.xml"/><Relationship Id="rId7" Type="http://schemas.openxmlformats.org/officeDocument/2006/relationships/tags" Target="../tags/tag343.xml"/><Relationship Id="rId12" Type="http://schemas.openxmlformats.org/officeDocument/2006/relationships/tags" Target="../tags/tag348.xml"/><Relationship Id="rId17" Type="http://schemas.openxmlformats.org/officeDocument/2006/relationships/tags" Target="../tags/tag353.xml"/><Relationship Id="rId25" Type="http://schemas.openxmlformats.org/officeDocument/2006/relationships/tags" Target="../tags/tag361.xml"/><Relationship Id="rId33" Type="http://schemas.openxmlformats.org/officeDocument/2006/relationships/tags" Target="../tags/tag369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352.xml"/><Relationship Id="rId20" Type="http://schemas.openxmlformats.org/officeDocument/2006/relationships/tags" Target="../tags/tag356.xml"/><Relationship Id="rId29" Type="http://schemas.openxmlformats.org/officeDocument/2006/relationships/tags" Target="../tags/tag365.xml"/><Relationship Id="rId1" Type="http://schemas.openxmlformats.org/officeDocument/2006/relationships/slideLayout" Target="../slideLayouts/slideLayout68.xml"/><Relationship Id="rId6" Type="http://schemas.openxmlformats.org/officeDocument/2006/relationships/tags" Target="../tags/tag342.xml"/><Relationship Id="rId11" Type="http://schemas.openxmlformats.org/officeDocument/2006/relationships/tags" Target="../tags/tag347.xml"/><Relationship Id="rId24" Type="http://schemas.openxmlformats.org/officeDocument/2006/relationships/tags" Target="../tags/tag360.xml"/><Relationship Id="rId32" Type="http://schemas.openxmlformats.org/officeDocument/2006/relationships/tags" Target="../tags/tag368.xml"/><Relationship Id="rId5" Type="http://schemas.openxmlformats.org/officeDocument/2006/relationships/vmlDrawing" Target="../drawings/vmlDrawing50.vml"/><Relationship Id="rId15" Type="http://schemas.openxmlformats.org/officeDocument/2006/relationships/tags" Target="../tags/tag351.xml"/><Relationship Id="rId23" Type="http://schemas.openxmlformats.org/officeDocument/2006/relationships/tags" Target="../tags/tag359.xml"/><Relationship Id="rId28" Type="http://schemas.openxmlformats.org/officeDocument/2006/relationships/tags" Target="../tags/tag364.xml"/><Relationship Id="rId36" Type="http://schemas.openxmlformats.org/officeDocument/2006/relationships/image" Target="../media/image1.emf"/><Relationship Id="rId10" Type="http://schemas.openxmlformats.org/officeDocument/2006/relationships/tags" Target="../tags/tag346.xml"/><Relationship Id="rId19" Type="http://schemas.openxmlformats.org/officeDocument/2006/relationships/tags" Target="../tags/tag355.xml"/><Relationship Id="rId31" Type="http://schemas.openxmlformats.org/officeDocument/2006/relationships/tags" Target="../tags/tag367.xml"/><Relationship Id="rId4" Type="http://schemas.openxmlformats.org/officeDocument/2006/relationships/theme" Target="../theme/theme14.xml"/><Relationship Id="rId9" Type="http://schemas.openxmlformats.org/officeDocument/2006/relationships/tags" Target="../tags/tag345.xml"/><Relationship Id="rId14" Type="http://schemas.openxmlformats.org/officeDocument/2006/relationships/tags" Target="../tags/tag350.xml"/><Relationship Id="rId22" Type="http://schemas.openxmlformats.org/officeDocument/2006/relationships/tags" Target="../tags/tag358.xml"/><Relationship Id="rId27" Type="http://schemas.openxmlformats.org/officeDocument/2006/relationships/tags" Target="../tags/tag363.xml"/><Relationship Id="rId30" Type="http://schemas.openxmlformats.org/officeDocument/2006/relationships/tags" Target="../tags/tag366.xml"/><Relationship Id="rId35" Type="http://schemas.openxmlformats.org/officeDocument/2006/relationships/oleObject" Target="../embeddings/oleObject50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13" Type="http://schemas.openxmlformats.org/officeDocument/2006/relationships/tags" Target="../tags/tag382.xml"/><Relationship Id="rId18" Type="http://schemas.openxmlformats.org/officeDocument/2006/relationships/tags" Target="../tags/tag387.xml"/><Relationship Id="rId3" Type="http://schemas.openxmlformats.org/officeDocument/2006/relationships/slideLayout" Target="../slideLayouts/slideLayout73.xml"/><Relationship Id="rId21" Type="http://schemas.openxmlformats.org/officeDocument/2006/relationships/tags" Target="../tags/tag390.xml"/><Relationship Id="rId7" Type="http://schemas.openxmlformats.org/officeDocument/2006/relationships/tags" Target="../tags/tag376.xml"/><Relationship Id="rId12" Type="http://schemas.openxmlformats.org/officeDocument/2006/relationships/tags" Target="../tags/tag381.xml"/><Relationship Id="rId17" Type="http://schemas.openxmlformats.org/officeDocument/2006/relationships/tags" Target="../tags/tag386.xml"/><Relationship Id="rId2" Type="http://schemas.openxmlformats.org/officeDocument/2006/relationships/slideLayout" Target="../slideLayouts/slideLayout72.xml"/><Relationship Id="rId16" Type="http://schemas.openxmlformats.org/officeDocument/2006/relationships/tags" Target="../tags/tag385.xml"/><Relationship Id="rId20" Type="http://schemas.openxmlformats.org/officeDocument/2006/relationships/tags" Target="../tags/tag389.xml"/><Relationship Id="rId1" Type="http://schemas.openxmlformats.org/officeDocument/2006/relationships/slideLayout" Target="../slideLayouts/slideLayout71.xml"/><Relationship Id="rId6" Type="http://schemas.openxmlformats.org/officeDocument/2006/relationships/tags" Target="../tags/tag375.xml"/><Relationship Id="rId11" Type="http://schemas.openxmlformats.org/officeDocument/2006/relationships/tags" Target="../tags/tag380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53.vml"/><Relationship Id="rId15" Type="http://schemas.openxmlformats.org/officeDocument/2006/relationships/tags" Target="../tags/tag384.xml"/><Relationship Id="rId23" Type="http://schemas.openxmlformats.org/officeDocument/2006/relationships/oleObject" Target="../embeddings/oleObject53.bin"/><Relationship Id="rId10" Type="http://schemas.openxmlformats.org/officeDocument/2006/relationships/tags" Target="../tags/tag379.xml"/><Relationship Id="rId19" Type="http://schemas.openxmlformats.org/officeDocument/2006/relationships/tags" Target="../tags/tag388.xml"/><Relationship Id="rId4" Type="http://schemas.openxmlformats.org/officeDocument/2006/relationships/theme" Target="../theme/theme15.xml"/><Relationship Id="rId9" Type="http://schemas.openxmlformats.org/officeDocument/2006/relationships/tags" Target="../tags/tag378.xml"/><Relationship Id="rId14" Type="http://schemas.openxmlformats.org/officeDocument/2006/relationships/tags" Target="../tags/tag383.xml"/><Relationship Id="rId22" Type="http://schemas.openxmlformats.org/officeDocument/2006/relationships/tags" Target="../tags/tag39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18" Type="http://schemas.openxmlformats.org/officeDocument/2006/relationships/tags" Target="../tags/tag408.xml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411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tags" Target="../tags/tag407.xml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406.xml"/><Relationship Id="rId20" Type="http://schemas.openxmlformats.org/officeDocument/2006/relationships/tags" Target="../tags/tag410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56.vml"/><Relationship Id="rId15" Type="http://schemas.openxmlformats.org/officeDocument/2006/relationships/tags" Target="../tags/tag405.xml"/><Relationship Id="rId23" Type="http://schemas.openxmlformats.org/officeDocument/2006/relationships/oleObject" Target="../embeddings/oleObject56.bin"/><Relationship Id="rId10" Type="http://schemas.openxmlformats.org/officeDocument/2006/relationships/tags" Target="../tags/tag400.xml"/><Relationship Id="rId19" Type="http://schemas.openxmlformats.org/officeDocument/2006/relationships/tags" Target="../tags/tag409.xml"/><Relationship Id="rId4" Type="http://schemas.openxmlformats.org/officeDocument/2006/relationships/theme" Target="../theme/theme16.xml"/><Relationship Id="rId9" Type="http://schemas.openxmlformats.org/officeDocument/2006/relationships/tags" Target="../tags/tag399.xml"/><Relationship Id="rId14" Type="http://schemas.openxmlformats.org/officeDocument/2006/relationships/tags" Target="../tags/tag404.xml"/><Relationship Id="rId22" Type="http://schemas.openxmlformats.org/officeDocument/2006/relationships/tags" Target="../tags/tag41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tags" Target="../tags/tag419.xml"/><Relationship Id="rId39" Type="http://schemas.openxmlformats.org/officeDocument/2006/relationships/tags" Target="../tags/tag43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tags" Target="../tags/tag427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tags" Target="../tags/tag418.xml"/><Relationship Id="rId33" Type="http://schemas.openxmlformats.org/officeDocument/2006/relationships/tags" Target="../tags/tag426.xml"/><Relationship Id="rId38" Type="http://schemas.openxmlformats.org/officeDocument/2006/relationships/tags" Target="../tags/tag431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ags" Target="../tags/tag422.xml"/><Relationship Id="rId41" Type="http://schemas.openxmlformats.org/officeDocument/2006/relationships/oleObject" Target="../embeddings/oleObject59.bin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tags" Target="../tags/tag417.xml"/><Relationship Id="rId32" Type="http://schemas.openxmlformats.org/officeDocument/2006/relationships/tags" Target="../tags/tag425.xml"/><Relationship Id="rId37" Type="http://schemas.openxmlformats.org/officeDocument/2006/relationships/tags" Target="../tags/tag430.xml"/><Relationship Id="rId40" Type="http://schemas.openxmlformats.org/officeDocument/2006/relationships/tags" Target="../tags/tag433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vmlDrawing" Target="../drawings/vmlDrawing59.vml"/><Relationship Id="rId28" Type="http://schemas.openxmlformats.org/officeDocument/2006/relationships/tags" Target="../tags/tag421.xml"/><Relationship Id="rId36" Type="http://schemas.openxmlformats.org/officeDocument/2006/relationships/tags" Target="../tags/tag429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tags" Target="../tags/tag424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theme" Target="../theme/theme17.xml"/><Relationship Id="rId27" Type="http://schemas.openxmlformats.org/officeDocument/2006/relationships/tags" Target="../tags/tag420.xml"/><Relationship Id="rId30" Type="http://schemas.openxmlformats.org/officeDocument/2006/relationships/tags" Target="../tags/tag423.xml"/><Relationship Id="rId35" Type="http://schemas.openxmlformats.org/officeDocument/2006/relationships/tags" Target="../tags/tag42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468.xml"/><Relationship Id="rId13" Type="http://schemas.openxmlformats.org/officeDocument/2006/relationships/tags" Target="../tags/tag473.xml"/><Relationship Id="rId18" Type="http://schemas.openxmlformats.org/officeDocument/2006/relationships/tags" Target="../tags/tag478.xml"/><Relationship Id="rId26" Type="http://schemas.openxmlformats.org/officeDocument/2006/relationships/tags" Target="../tags/tag486.xml"/><Relationship Id="rId3" Type="http://schemas.openxmlformats.org/officeDocument/2006/relationships/slideLayout" Target="../slideLayouts/slideLayout100.xml"/><Relationship Id="rId21" Type="http://schemas.openxmlformats.org/officeDocument/2006/relationships/tags" Target="../tags/tag481.xml"/><Relationship Id="rId34" Type="http://schemas.openxmlformats.org/officeDocument/2006/relationships/tags" Target="../tags/tag494.xml"/><Relationship Id="rId7" Type="http://schemas.openxmlformats.org/officeDocument/2006/relationships/tags" Target="../tags/tag467.xml"/><Relationship Id="rId12" Type="http://schemas.openxmlformats.org/officeDocument/2006/relationships/tags" Target="../tags/tag472.xml"/><Relationship Id="rId17" Type="http://schemas.openxmlformats.org/officeDocument/2006/relationships/tags" Target="../tags/tag477.xml"/><Relationship Id="rId25" Type="http://schemas.openxmlformats.org/officeDocument/2006/relationships/tags" Target="../tags/tag485.xml"/><Relationship Id="rId33" Type="http://schemas.openxmlformats.org/officeDocument/2006/relationships/tags" Target="../tags/tag493.xml"/><Relationship Id="rId2" Type="http://schemas.openxmlformats.org/officeDocument/2006/relationships/slideLayout" Target="../slideLayouts/slideLayout99.xml"/><Relationship Id="rId16" Type="http://schemas.openxmlformats.org/officeDocument/2006/relationships/tags" Target="../tags/tag476.xml"/><Relationship Id="rId20" Type="http://schemas.openxmlformats.org/officeDocument/2006/relationships/tags" Target="../tags/tag480.xml"/><Relationship Id="rId29" Type="http://schemas.openxmlformats.org/officeDocument/2006/relationships/tags" Target="../tags/tag489.xml"/><Relationship Id="rId1" Type="http://schemas.openxmlformats.org/officeDocument/2006/relationships/slideLayout" Target="../slideLayouts/slideLayout98.xml"/><Relationship Id="rId6" Type="http://schemas.openxmlformats.org/officeDocument/2006/relationships/tags" Target="../tags/tag466.xml"/><Relationship Id="rId11" Type="http://schemas.openxmlformats.org/officeDocument/2006/relationships/tags" Target="../tags/tag471.xml"/><Relationship Id="rId24" Type="http://schemas.openxmlformats.org/officeDocument/2006/relationships/tags" Target="../tags/tag484.xml"/><Relationship Id="rId32" Type="http://schemas.openxmlformats.org/officeDocument/2006/relationships/tags" Target="../tags/tag492.xml"/><Relationship Id="rId5" Type="http://schemas.openxmlformats.org/officeDocument/2006/relationships/vmlDrawing" Target="../drawings/vmlDrawing74.vml"/><Relationship Id="rId15" Type="http://schemas.openxmlformats.org/officeDocument/2006/relationships/tags" Target="../tags/tag475.xml"/><Relationship Id="rId23" Type="http://schemas.openxmlformats.org/officeDocument/2006/relationships/tags" Target="../tags/tag483.xml"/><Relationship Id="rId28" Type="http://schemas.openxmlformats.org/officeDocument/2006/relationships/tags" Target="../tags/tag488.xml"/><Relationship Id="rId36" Type="http://schemas.openxmlformats.org/officeDocument/2006/relationships/image" Target="../media/image1.emf"/><Relationship Id="rId10" Type="http://schemas.openxmlformats.org/officeDocument/2006/relationships/tags" Target="../tags/tag470.xml"/><Relationship Id="rId19" Type="http://schemas.openxmlformats.org/officeDocument/2006/relationships/tags" Target="../tags/tag479.xml"/><Relationship Id="rId31" Type="http://schemas.openxmlformats.org/officeDocument/2006/relationships/tags" Target="../tags/tag491.xml"/><Relationship Id="rId4" Type="http://schemas.openxmlformats.org/officeDocument/2006/relationships/theme" Target="../theme/theme18.xml"/><Relationship Id="rId9" Type="http://schemas.openxmlformats.org/officeDocument/2006/relationships/tags" Target="../tags/tag469.xml"/><Relationship Id="rId14" Type="http://schemas.openxmlformats.org/officeDocument/2006/relationships/tags" Target="../tags/tag474.xml"/><Relationship Id="rId22" Type="http://schemas.openxmlformats.org/officeDocument/2006/relationships/tags" Target="../tags/tag482.xml"/><Relationship Id="rId27" Type="http://schemas.openxmlformats.org/officeDocument/2006/relationships/tags" Target="../tags/tag487.xml"/><Relationship Id="rId30" Type="http://schemas.openxmlformats.org/officeDocument/2006/relationships/tags" Target="../tags/tag490.xml"/><Relationship Id="rId35" Type="http://schemas.openxmlformats.org/officeDocument/2006/relationships/oleObject" Target="../embeddings/oleObject74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tags" Target="../tags/tag505.xml"/><Relationship Id="rId18" Type="http://schemas.openxmlformats.org/officeDocument/2006/relationships/tags" Target="../tags/tag510.xml"/><Relationship Id="rId3" Type="http://schemas.openxmlformats.org/officeDocument/2006/relationships/slideLayout" Target="../slideLayouts/slideLayout103.xml"/><Relationship Id="rId21" Type="http://schemas.openxmlformats.org/officeDocument/2006/relationships/tags" Target="../tags/tag513.xml"/><Relationship Id="rId7" Type="http://schemas.openxmlformats.org/officeDocument/2006/relationships/tags" Target="../tags/tag499.xml"/><Relationship Id="rId12" Type="http://schemas.openxmlformats.org/officeDocument/2006/relationships/tags" Target="../tags/tag504.xml"/><Relationship Id="rId17" Type="http://schemas.openxmlformats.org/officeDocument/2006/relationships/tags" Target="../tags/tag509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2.xml"/><Relationship Id="rId16" Type="http://schemas.openxmlformats.org/officeDocument/2006/relationships/tags" Target="../tags/tag508.xml"/><Relationship Id="rId20" Type="http://schemas.openxmlformats.org/officeDocument/2006/relationships/tags" Target="../tags/tag512.xml"/><Relationship Id="rId1" Type="http://schemas.openxmlformats.org/officeDocument/2006/relationships/slideLayout" Target="../slideLayouts/slideLayout101.xml"/><Relationship Id="rId6" Type="http://schemas.openxmlformats.org/officeDocument/2006/relationships/vmlDrawing" Target="../drawings/vmlDrawing77.vml"/><Relationship Id="rId11" Type="http://schemas.openxmlformats.org/officeDocument/2006/relationships/tags" Target="../tags/tag503.xml"/><Relationship Id="rId24" Type="http://schemas.openxmlformats.org/officeDocument/2006/relationships/oleObject" Target="../embeddings/oleObject77.bin"/><Relationship Id="rId5" Type="http://schemas.openxmlformats.org/officeDocument/2006/relationships/theme" Target="../theme/theme19.xml"/><Relationship Id="rId15" Type="http://schemas.openxmlformats.org/officeDocument/2006/relationships/tags" Target="../tags/tag507.xml"/><Relationship Id="rId23" Type="http://schemas.openxmlformats.org/officeDocument/2006/relationships/tags" Target="../tags/tag515.xml"/><Relationship Id="rId10" Type="http://schemas.openxmlformats.org/officeDocument/2006/relationships/tags" Target="../tags/tag502.xml"/><Relationship Id="rId19" Type="http://schemas.openxmlformats.org/officeDocument/2006/relationships/tags" Target="../tags/tag511.xml"/><Relationship Id="rId4" Type="http://schemas.openxmlformats.org/officeDocument/2006/relationships/slideLayout" Target="../slideLayouts/slideLayout104.xml"/><Relationship Id="rId9" Type="http://schemas.openxmlformats.org/officeDocument/2006/relationships/tags" Target="../tags/tag501.xml"/><Relationship Id="rId14" Type="http://schemas.openxmlformats.org/officeDocument/2006/relationships/tags" Target="../tags/tag506.xml"/><Relationship Id="rId22" Type="http://schemas.openxmlformats.org/officeDocument/2006/relationships/tags" Target="../tags/tag5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5" Type="http://schemas.openxmlformats.org/officeDocument/2006/relationships/vmlDrawing" Target="../drawings/vmlDrawing4.v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image" Target="../media/image1.emf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" Type="http://schemas.openxmlformats.org/officeDocument/2006/relationships/theme" Target="../theme/theme2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oleObject" Target="../embeddings/oleObject4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07.xml"/><Relationship Id="rId7" Type="http://schemas.openxmlformats.org/officeDocument/2006/relationships/oleObject" Target="../embeddings/oleObject80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ags" Target="../tags/tag520.xml"/><Relationship Id="rId5" Type="http://schemas.openxmlformats.org/officeDocument/2006/relationships/vmlDrawing" Target="../drawings/vmlDrawing80.v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23.xml"/><Relationship Id="rId7" Type="http://schemas.openxmlformats.org/officeDocument/2006/relationships/oleObject" Target="../embeddings/oleObject83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tags" Target="../tags/tag524.xml"/><Relationship Id="rId5" Type="http://schemas.openxmlformats.org/officeDocument/2006/relationships/vmlDrawing" Target="../drawings/vmlDrawing83.vml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13" Type="http://schemas.openxmlformats.org/officeDocument/2006/relationships/tags" Target="../tags/tag534.xml"/><Relationship Id="rId18" Type="http://schemas.openxmlformats.org/officeDocument/2006/relationships/tags" Target="../tags/tag539.xml"/><Relationship Id="rId3" Type="http://schemas.openxmlformats.org/officeDocument/2006/relationships/slideLayout" Target="../slideLayouts/slideLayout126.xml"/><Relationship Id="rId21" Type="http://schemas.openxmlformats.org/officeDocument/2006/relationships/tags" Target="../tags/tag542.xml"/><Relationship Id="rId7" Type="http://schemas.openxmlformats.org/officeDocument/2006/relationships/tags" Target="../tags/tag528.xml"/><Relationship Id="rId12" Type="http://schemas.openxmlformats.org/officeDocument/2006/relationships/tags" Target="../tags/tag533.xml"/><Relationship Id="rId17" Type="http://schemas.openxmlformats.org/officeDocument/2006/relationships/tags" Target="../tags/tag53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25.xml"/><Relationship Id="rId16" Type="http://schemas.openxmlformats.org/officeDocument/2006/relationships/tags" Target="../tags/tag537.xml"/><Relationship Id="rId20" Type="http://schemas.openxmlformats.org/officeDocument/2006/relationships/tags" Target="../tags/tag541.xml"/><Relationship Id="rId1" Type="http://schemas.openxmlformats.org/officeDocument/2006/relationships/slideLayout" Target="../slideLayouts/slideLayout124.xml"/><Relationship Id="rId6" Type="http://schemas.openxmlformats.org/officeDocument/2006/relationships/vmlDrawing" Target="../drawings/vmlDrawing86.vml"/><Relationship Id="rId11" Type="http://schemas.openxmlformats.org/officeDocument/2006/relationships/tags" Target="../tags/tag532.xml"/><Relationship Id="rId24" Type="http://schemas.openxmlformats.org/officeDocument/2006/relationships/oleObject" Target="../embeddings/oleObject86.bin"/><Relationship Id="rId5" Type="http://schemas.openxmlformats.org/officeDocument/2006/relationships/theme" Target="../theme/theme23.xml"/><Relationship Id="rId15" Type="http://schemas.openxmlformats.org/officeDocument/2006/relationships/tags" Target="../tags/tag536.xml"/><Relationship Id="rId23" Type="http://schemas.openxmlformats.org/officeDocument/2006/relationships/tags" Target="../tags/tag544.xml"/><Relationship Id="rId10" Type="http://schemas.openxmlformats.org/officeDocument/2006/relationships/tags" Target="../tags/tag531.xml"/><Relationship Id="rId19" Type="http://schemas.openxmlformats.org/officeDocument/2006/relationships/tags" Target="../tags/tag540.xml"/><Relationship Id="rId4" Type="http://schemas.openxmlformats.org/officeDocument/2006/relationships/slideLayout" Target="../slideLayouts/slideLayout127.xml"/><Relationship Id="rId9" Type="http://schemas.openxmlformats.org/officeDocument/2006/relationships/tags" Target="../tags/tag530.xml"/><Relationship Id="rId14" Type="http://schemas.openxmlformats.org/officeDocument/2006/relationships/tags" Target="../tags/tag535.xml"/><Relationship Id="rId22" Type="http://schemas.openxmlformats.org/officeDocument/2006/relationships/tags" Target="../tags/tag54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83.xml"/><Relationship Id="rId34" Type="http://schemas.openxmlformats.org/officeDocument/2006/relationships/tags" Target="../tags/tag96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tags" Target="../tags/tag95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5" Type="http://schemas.openxmlformats.org/officeDocument/2006/relationships/vmlDrawing" Target="../drawings/vmlDrawing7.v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image" Target="../media/image1.emf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" Type="http://schemas.openxmlformats.org/officeDocument/2006/relationships/theme" Target="../theme/theme3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5" Type="http://schemas.openxmlformats.org/officeDocument/2006/relationships/vmlDrawing" Target="../drawings/vmlDrawing10.v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image" Target="../media/image1.emf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" Type="http://schemas.openxmlformats.org/officeDocument/2006/relationships/theme" Target="../theme/theme4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oleObject" Target="../embeddings/oleObject1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134.xml"/><Relationship Id="rId39" Type="http://schemas.openxmlformats.org/officeDocument/2006/relationships/tags" Target="../tags/tag147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tags" Target="../tags/tag142.xml"/><Relationship Id="rId42" Type="http://schemas.openxmlformats.org/officeDocument/2006/relationships/tags" Target="../tags/tag150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13.vml"/><Relationship Id="rId33" Type="http://schemas.openxmlformats.org/officeDocument/2006/relationships/tags" Target="../tags/tag141.xml"/><Relationship Id="rId38" Type="http://schemas.openxmlformats.org/officeDocument/2006/relationships/tags" Target="../tags/tag146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ags" Target="../tags/tag137.xml"/><Relationship Id="rId41" Type="http://schemas.openxmlformats.org/officeDocument/2006/relationships/tags" Target="../tags/tag149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5.xml"/><Relationship Id="rId32" Type="http://schemas.openxmlformats.org/officeDocument/2006/relationships/tags" Target="../tags/tag140.xml"/><Relationship Id="rId37" Type="http://schemas.openxmlformats.org/officeDocument/2006/relationships/tags" Target="../tags/tag145.xml"/><Relationship Id="rId40" Type="http://schemas.openxmlformats.org/officeDocument/2006/relationships/tags" Target="../tags/tag148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136.xml"/><Relationship Id="rId36" Type="http://schemas.openxmlformats.org/officeDocument/2006/relationships/tags" Target="../tags/tag144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ags" Target="../tags/tag139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135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43" Type="http://schemas.openxmlformats.org/officeDocument/2006/relationships/oleObject" Target="../embeddings/oleObject1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tags" Target="../tags/tag196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199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194.xml"/><Relationship Id="rId20" Type="http://schemas.openxmlformats.org/officeDocument/2006/relationships/tags" Target="../tags/tag198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28.vml"/><Relationship Id="rId15" Type="http://schemas.openxmlformats.org/officeDocument/2006/relationships/tags" Target="../tags/tag193.xml"/><Relationship Id="rId23" Type="http://schemas.openxmlformats.org/officeDocument/2006/relationships/oleObject" Target="../embeddings/oleObject28.bin"/><Relationship Id="rId10" Type="http://schemas.openxmlformats.org/officeDocument/2006/relationships/tags" Target="../tags/tag188.xml"/><Relationship Id="rId19" Type="http://schemas.openxmlformats.org/officeDocument/2006/relationships/tags" Target="../tags/tag197.xml"/><Relationship Id="rId4" Type="http://schemas.openxmlformats.org/officeDocument/2006/relationships/theme" Target="../theme/theme6.xml"/><Relationship Id="rId9" Type="http://schemas.openxmlformats.org/officeDocument/2006/relationships/tags" Target="../tags/tag187.xml"/><Relationship Id="rId14" Type="http://schemas.openxmlformats.org/officeDocument/2006/relationships/tags" Target="../tags/tag192.xml"/><Relationship Id="rId22" Type="http://schemas.openxmlformats.org/officeDocument/2006/relationships/tags" Target="../tags/tag20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tags" Target="../tags/tag212.xml"/><Relationship Id="rId18" Type="http://schemas.openxmlformats.org/officeDocument/2006/relationships/tags" Target="../tags/tag217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220.xml"/><Relationship Id="rId7" Type="http://schemas.openxmlformats.org/officeDocument/2006/relationships/tags" Target="../tags/tag206.xml"/><Relationship Id="rId12" Type="http://schemas.openxmlformats.org/officeDocument/2006/relationships/tags" Target="../tags/tag211.xml"/><Relationship Id="rId17" Type="http://schemas.openxmlformats.org/officeDocument/2006/relationships/tags" Target="../tags/tag216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215.xml"/><Relationship Id="rId20" Type="http://schemas.openxmlformats.org/officeDocument/2006/relationships/tags" Target="../tags/tag219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1.vml"/><Relationship Id="rId15" Type="http://schemas.openxmlformats.org/officeDocument/2006/relationships/tags" Target="../tags/tag214.xml"/><Relationship Id="rId23" Type="http://schemas.openxmlformats.org/officeDocument/2006/relationships/oleObject" Target="../embeddings/oleObject31.bin"/><Relationship Id="rId10" Type="http://schemas.openxmlformats.org/officeDocument/2006/relationships/tags" Target="../tags/tag209.xml"/><Relationship Id="rId19" Type="http://schemas.openxmlformats.org/officeDocument/2006/relationships/tags" Target="../tags/tag218.xml"/><Relationship Id="rId4" Type="http://schemas.openxmlformats.org/officeDocument/2006/relationships/theme" Target="../theme/theme7.xml"/><Relationship Id="rId9" Type="http://schemas.openxmlformats.org/officeDocument/2006/relationships/tags" Target="../tags/tag208.xml"/><Relationship Id="rId14" Type="http://schemas.openxmlformats.org/officeDocument/2006/relationships/tags" Target="../tags/tag213.xml"/><Relationship Id="rId22" Type="http://schemas.openxmlformats.org/officeDocument/2006/relationships/tags" Target="../tags/tag22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slideLayout" Target="../slideLayouts/slideLayout44.xml"/><Relationship Id="rId7" Type="http://schemas.openxmlformats.org/officeDocument/2006/relationships/tags" Target="../tags/tag22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34.vml"/><Relationship Id="rId5" Type="http://schemas.openxmlformats.org/officeDocument/2006/relationships/theme" Target="../theme/theme8.xml"/><Relationship Id="rId10" Type="http://schemas.openxmlformats.org/officeDocument/2006/relationships/image" Target="../media/image19.emf"/><Relationship Id="rId4" Type="http://schemas.openxmlformats.org/officeDocument/2006/relationships/slideLayout" Target="../slideLayouts/slideLayout45.xml"/><Relationship Id="rId9" Type="http://schemas.openxmlformats.org/officeDocument/2006/relationships/oleObject" Target="../embeddings/oleObject34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19.emf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oleObject" Target="../embeddings/oleObject35.bin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ags" Target="../tags/tag229.xml"/><Relationship Id="rId5" Type="http://schemas.openxmlformats.org/officeDocument/2006/relationships/slideLayout" Target="../slideLayouts/slideLayout50.xml"/><Relationship Id="rId10" Type="http://schemas.openxmlformats.org/officeDocument/2006/relationships/tags" Target="../tags/tag228.xml"/><Relationship Id="rId4" Type="http://schemas.openxmlformats.org/officeDocument/2006/relationships/slideLayout" Target="../slideLayouts/slideLayout49.xml"/><Relationship Id="rId9" Type="http://schemas.openxmlformats.org/officeDocument/2006/relationships/vmlDrawing" Target="../drawings/vmlDrawing35.vml"/><Relationship Id="rId14" Type="http://schemas.openxmlformats.org/officeDocument/2006/relationships/image" Target="../media/image2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6092921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748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0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1731" y="4197996"/>
            <a:ext cx="175047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11/12/2018 10:54 AM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1" y="277885"/>
            <a:ext cx="1380118" cy="776933"/>
            <a:chOff x="7607284" y="279400"/>
            <a:chExt cx="1014423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60" y="277991"/>
            <a:ext cx="961119" cy="1049050"/>
            <a:chOff x="5894005" y="919828"/>
            <a:chExt cx="706448" cy="102816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48" y="277476"/>
            <a:ext cx="1051830" cy="1343674"/>
            <a:chOff x="5894005" y="2695123"/>
            <a:chExt cx="773123" cy="131692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6918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6849513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71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83258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2736" y="4197996"/>
            <a:ext cx="248466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612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x-none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816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33676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x-none" sz="816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837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7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675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44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064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6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0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1731" y="4197996"/>
            <a:ext cx="175047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11/12/2018 10:54 AM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1" y="277885"/>
            <a:ext cx="1380118" cy="776933"/>
            <a:chOff x="7607284" y="279400"/>
            <a:chExt cx="1014423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60" y="277991"/>
            <a:ext cx="961119" cy="1049050"/>
            <a:chOff x="5894005" y="919828"/>
            <a:chExt cx="706448" cy="102816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48" y="277476"/>
            <a:ext cx="1051830" cy="1343674"/>
            <a:chOff x="5894005" y="2695123"/>
            <a:chExt cx="773123" cy="131692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5362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0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8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6033" y="4197040"/>
            <a:ext cx="174187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 12/6/2018 12:05 PM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406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89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7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43371" y="4197996"/>
            <a:ext cx="170719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/14/2019 12:57 PM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365410" y="277885"/>
            <a:ext cx="1283938" cy="745579"/>
            <a:chOff x="7607284" y="279400"/>
            <a:chExt cx="943728" cy="73073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784418" y="277991"/>
            <a:ext cx="864940" cy="1021018"/>
            <a:chOff x="5894005" y="919828"/>
            <a:chExt cx="635753" cy="100069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693706" y="277476"/>
            <a:ext cx="955651" cy="1340748"/>
            <a:chOff x="5894005" y="2695123"/>
            <a:chExt cx="702428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381753" cy="18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381753" cy="18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>
                  <a:latin typeface="+mn-lt"/>
                  <a:ea typeface="+mn-ea"/>
                </a:rPr>
                <a:t>Legend</a:t>
              </a:r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381753" cy="18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381753" cy="18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381753" cy="184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50615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225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83258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75331" y="4197039"/>
            <a:ext cx="184328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1/21/2018 9:45 AM Eastern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483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6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7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67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0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8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684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0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3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5"/>
            </p:custDataLst>
          </p:nvPr>
        </p:nvSpPr>
        <p:spPr bwMode="auto">
          <a:xfrm>
            <a:off x="0" y="0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904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290661" y="1985948"/>
            <a:ext cx="1612621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35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x-none" sz="535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87164" y="4203928"/>
            <a:ext cx="219612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35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85154" y="77303"/>
            <a:ext cx="436017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714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85154" y="689050"/>
            <a:ext cx="11725484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428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428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85154" y="6450469"/>
            <a:ext cx="11630454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528" indent="-76528">
              <a:defRPr lang="x-none"/>
            </a:pPr>
            <a:r>
              <a:rPr lang="x-none" sz="714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85153" y="6656176"/>
            <a:ext cx="10155320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40747" indent="-440747" defTabSz="1065783">
              <a:tabLst/>
            </a:pPr>
            <a:r>
              <a:rPr lang="x-none" sz="714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5154" y="1651363"/>
            <a:ext cx="9304730" cy="14553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85153" y="1742227"/>
            <a:ext cx="5801189" cy="403317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428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071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3934" y="291554"/>
            <a:ext cx="423642" cy="137602"/>
            <a:chOff x="8429386" y="285750"/>
            <a:chExt cx="311389" cy="13486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29386" y="285750"/>
              <a:ext cx="311389" cy="1348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65783">
                <a:buClr>
                  <a:schemeClr val="tx2"/>
                </a:buClr>
              </a:pPr>
              <a:r>
                <a:rPr lang="x-none" sz="714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29386" y="285750"/>
              <a:ext cx="0" cy="13486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29386" y="420613"/>
              <a:ext cx="3113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BottomBar" hidden="1"/>
          <p:cNvSpPr/>
          <p:nvPr/>
        </p:nvSpPr>
        <p:spPr>
          <a:xfrm>
            <a:off x="11979224" y="6572482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589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460370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898345" y="285075"/>
            <a:ext cx="720828" cy="1004243"/>
            <a:chOff x="7835905" y="279400"/>
            <a:chExt cx="706468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584280" y="285076"/>
            <a:ext cx="1035063" cy="721982"/>
            <a:chOff x="7540629" y="279400"/>
            <a:chExt cx="1014442" cy="70761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830315" y="285075"/>
            <a:ext cx="788858" cy="1333054"/>
            <a:chOff x="7769225" y="250825"/>
            <a:chExt cx="773143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1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065783" rtl="0" eaLnBrk="1" fontAlgn="base" hangingPunct="1">
        <a:spcBef>
          <a:spcPct val="0"/>
        </a:spcBef>
        <a:spcAft>
          <a:spcPct val="0"/>
        </a:spcAft>
        <a:tabLst>
          <a:tab pos="321246" algn="l"/>
        </a:tabLst>
        <a:defRPr lang="x-none" sz="2321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2pPr>
      <a:lvl3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3pPr>
      <a:lvl4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4pPr>
      <a:lvl5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5pPr>
      <a:lvl6pPr marL="54422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6pPr>
      <a:lvl7pPr marL="1088460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7pPr>
      <a:lvl8pPr marL="163268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8pPr>
      <a:lvl9pPr marL="217691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65783" rtl="0" eaLnBrk="1" fontAlgn="base" hangingPunct="1">
        <a:spcBef>
          <a:spcPts val="535"/>
        </a:spcBef>
        <a:spcAft>
          <a:spcPts val="535"/>
        </a:spcAft>
        <a:buClr>
          <a:schemeClr val="tx2"/>
        </a:buClr>
        <a:buSzPct val="100000"/>
        <a:defRPr lang="x-none" sz="1428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889" indent="0" algn="l" defTabSz="1065783" rtl="0" eaLnBrk="1" fontAlgn="base" hangingPunct="1">
        <a:spcBef>
          <a:spcPts val="535"/>
        </a:spcBef>
        <a:spcAft>
          <a:spcPts val="535"/>
        </a:spcAft>
        <a:buClr>
          <a:schemeClr val="tx2"/>
        </a:buClr>
        <a:buSzPct val="125000"/>
        <a:buFontTx/>
        <a:buNone/>
        <a:defRPr lang="x-none" sz="1428" b="0" baseline="0">
          <a:solidFill>
            <a:schemeClr val="tx1"/>
          </a:solidFill>
          <a:latin typeface="+mn-lt"/>
        </a:defRPr>
      </a:lvl2pPr>
      <a:lvl3pPr marL="150222" indent="-150222" algn="l" defTabSz="1065783" rtl="0" eaLnBrk="1" fontAlgn="base" hangingPunct="1">
        <a:spcBef>
          <a:spcPct val="0"/>
        </a:spcBef>
        <a:spcAft>
          <a:spcPts val="535"/>
        </a:spcAft>
        <a:buClrTx/>
        <a:buSzPct val="100000"/>
        <a:buFont typeface="Arial" panose="020B0604020202020204" pitchFamily="34" charset="0"/>
        <a:buChar char="•"/>
        <a:defRPr lang="x-none" sz="1428" baseline="0">
          <a:solidFill>
            <a:schemeClr val="tx1"/>
          </a:solidFill>
          <a:latin typeface="+mn-lt"/>
        </a:defRPr>
      </a:lvl3pPr>
      <a:lvl4pPr marL="313200" indent="-162978" algn="l" defTabSz="1065783" rtl="0" eaLnBrk="1" fontAlgn="base" hangingPunct="1">
        <a:spcBef>
          <a:spcPct val="0"/>
        </a:spcBef>
        <a:spcAft>
          <a:spcPts val="535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428" baseline="0">
          <a:solidFill>
            <a:schemeClr val="accent6"/>
          </a:solidFill>
          <a:latin typeface="+mn-lt"/>
        </a:defRPr>
      </a:lvl4pPr>
      <a:lvl5pPr marL="517276" indent="-204076" algn="l" defTabSz="1065783" rtl="0" eaLnBrk="1" fontAlgn="base" hangingPunct="1">
        <a:spcBef>
          <a:spcPct val="0"/>
        </a:spcBef>
        <a:spcAft>
          <a:spcPts val="535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428" baseline="0">
          <a:solidFill>
            <a:schemeClr val="accent6"/>
          </a:solidFill>
          <a:latin typeface="+mn-lt"/>
        </a:defRPr>
      </a:lvl5pPr>
      <a:lvl6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6pPr>
      <a:lvl7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7pPr>
      <a:lvl8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8pPr>
      <a:lvl9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1pPr>
      <a:lvl2pPr marL="54422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2pPr>
      <a:lvl3pPr marL="1088460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3pPr>
      <a:lvl4pPr marL="163268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4pPr>
      <a:lvl5pPr marL="217691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5pPr>
      <a:lvl6pPr marL="272114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6pPr>
      <a:lvl7pPr marL="326537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7pPr>
      <a:lvl8pPr marL="380960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8pPr>
      <a:lvl9pPr marL="435383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92">
          <p15:clr>
            <a:srgbClr val="F26B43"/>
          </p15:clr>
        </p15:guide>
        <p15:guide id="3" pos="284">
          <p15:clr>
            <a:srgbClr val="F26B43"/>
          </p15:clr>
        </p15:guide>
        <p15:guide id="4" pos="1436">
          <p15:clr>
            <a:srgbClr val="F26B43"/>
          </p15:clr>
        </p15:guide>
        <p15:guide id="5" pos="7196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0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797">
          <p15:clr>
            <a:srgbClr val="F26B43"/>
          </p15:clr>
        </p15:guide>
        <p15:guide id="12" orient="horz" pos="557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7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83259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75331" y="4197039"/>
            <a:ext cx="184328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1/21/2018 9:45 AM Eastern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02406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65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8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131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4217581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82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0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1731" y="4197996"/>
            <a:ext cx="175047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11/12/2018 10:54 AM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1" y="277885"/>
            <a:ext cx="1380118" cy="776933"/>
            <a:chOff x="7607284" y="279400"/>
            <a:chExt cx="1014423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60" y="277991"/>
            <a:ext cx="961119" cy="1049050"/>
            <a:chOff x="5894005" y="919828"/>
            <a:chExt cx="706448" cy="102816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48" y="277476"/>
            <a:ext cx="1051830" cy="1343674"/>
            <a:chOff x="5894005" y="2695123"/>
            <a:chExt cx="773123" cy="131692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842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9923B7-1EEE-4B6C-BC17-3446DBE377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48814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169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19923B7-1EEE-4B6C-BC17-3446DBE37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ECD1C-62F1-413C-B7CE-A723379DE5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445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36B868E-08EB-2A46-9E30-2E0131F738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5971117"/>
            <a:ext cx="2743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0733E6-B609-154C-9FC5-E5B743AAEFC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3776240-50D8-1E45-A0D7-06585FEFE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434168"/>
            <a:ext cx="10515600" cy="33570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7358B6FB-D1FE-4342-A679-F2520F7BC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6834"/>
            <a:ext cx="10515600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2206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</p:sldLayoutIdLst>
  <p:txStyles>
    <p:titleStyle>
      <a:lvl1pPr algn="l" defTabSz="1219139" rtl="0" eaLnBrk="1" latinLnBrk="0" hangingPunct="1">
        <a:lnSpc>
          <a:spcPct val="90000"/>
        </a:lnSpc>
        <a:spcBef>
          <a:spcPct val="0"/>
        </a:spcBef>
        <a:buNone/>
        <a:defRPr sz="7200" b="1" i="0" kern="120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1219139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3733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914354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523923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b="0" kern="1200">
          <a:solidFill>
            <a:schemeClr val="tx2"/>
          </a:solidFill>
          <a:latin typeface="+mn-lt"/>
          <a:ea typeface="+mn-ea"/>
          <a:cs typeface="+mn-cs"/>
        </a:defRPr>
      </a:lvl3pPr>
      <a:lvl4pPr marL="2133493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2743063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b="0" kern="1200">
          <a:solidFill>
            <a:schemeClr val="tx2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19923B7-1EEE-4B6C-BC17-3446DBE377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99"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19923B7-1EEE-4B6C-BC17-3446DBE37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ECD1C-62F1-413C-B7CE-A723379DE5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701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9086644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086192" y="1979060"/>
            <a:ext cx="2021556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7/2019 9:44 AM Eastern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833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5A3F33-9FEF-4402-BB1F-016069714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5BB52A-E8B8-4ACC-8511-31622A3C07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DA159F-EC6F-424A-93BF-3320292C99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EAC59-B023-4AC5-8137-2100AF0176DE}" type="datetimeFigureOut">
              <a:rPr lang="en-US" smtClean="0"/>
              <a:t>3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A9E8F-E673-432E-A1AD-D75CF5D7C7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86CF06-3580-4DF7-A0E4-14B7FEC82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6F29F6-0746-4D25-B9FF-A70A276796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490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16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60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1731" y="4197996"/>
            <a:ext cx="175047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11/12/2018 10:54 AM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59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1" y="277885"/>
            <a:ext cx="1380118" cy="776933"/>
            <a:chOff x="7607284" y="279400"/>
            <a:chExt cx="1014423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60" y="277991"/>
            <a:ext cx="961119" cy="1049050"/>
            <a:chOff x="5894005" y="919828"/>
            <a:chExt cx="706448" cy="102816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52448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48" y="277476"/>
            <a:ext cx="1051830" cy="1343674"/>
            <a:chOff x="5894005" y="2695123"/>
            <a:chExt cx="773123" cy="131692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52448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7929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708393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7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83258" y="1980016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75331" y="4197039"/>
            <a:ext cx="184328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1/21/2018 9:45 AM Eastern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263063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0682071" y="277992"/>
            <a:ext cx="973632" cy="1053514"/>
            <a:chOff x="5894005" y="919828"/>
            <a:chExt cx="715644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0591359" y="277476"/>
            <a:ext cx="1064343" cy="1348137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  <a:endParaRPr lang="en-US" sz="1428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2809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55025185"/>
              </p:ext>
            </p:extLst>
          </p:nvPr>
        </p:nvGraphicFramePr>
        <p:xfrm>
          <a:off x="0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505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7"/>
            </p:custDataLst>
          </p:nvPr>
        </p:nvSpPr>
        <p:spPr bwMode="auto">
          <a:xfrm>
            <a:off x="0" y="0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904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290661" y="1985948"/>
            <a:ext cx="1612621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535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x-none" sz="535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87164" y="4203928"/>
            <a:ext cx="219612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535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85154" y="234865"/>
            <a:ext cx="11192471" cy="3572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85154" y="77303"/>
            <a:ext cx="436017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714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85154" y="689050"/>
            <a:ext cx="11725484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428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x-none" sz="1428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85154" y="6450469"/>
            <a:ext cx="11630454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528" indent="-76528">
              <a:defRPr lang="x-none"/>
            </a:pPr>
            <a:r>
              <a:rPr lang="x-none" sz="714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85153" y="6656176"/>
            <a:ext cx="10155320" cy="109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40747" indent="-440747" defTabSz="1065783">
              <a:tabLst/>
            </a:pPr>
            <a:r>
              <a:rPr lang="x-none" sz="714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5154" y="1651363"/>
            <a:ext cx="9304730" cy="14553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485153" y="1742227"/>
            <a:ext cx="5801189" cy="403317"/>
            <a:chOff x="915" y="781"/>
            <a:chExt cx="2686" cy="24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428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071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3934" y="291554"/>
            <a:ext cx="423642" cy="137602"/>
            <a:chOff x="8429386" y="285750"/>
            <a:chExt cx="311389" cy="13486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29386" y="285750"/>
              <a:ext cx="311389" cy="13486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65783">
                <a:buClr>
                  <a:schemeClr val="tx2"/>
                </a:buClr>
              </a:pPr>
              <a:r>
                <a:rPr lang="x-none" sz="714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29386" y="285750"/>
              <a:ext cx="0" cy="13486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29386" y="420613"/>
              <a:ext cx="3113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BottomBar" hidden="1"/>
          <p:cNvSpPr/>
          <p:nvPr/>
        </p:nvSpPr>
        <p:spPr>
          <a:xfrm>
            <a:off x="11979224" y="6572482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589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460370" y="51833"/>
            <a:ext cx="1190119" cy="82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799297"/>
            <a:endParaRPr lang="x-none" sz="53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0898345" y="285075"/>
            <a:ext cx="720828" cy="1004243"/>
            <a:chOff x="7835905" y="279400"/>
            <a:chExt cx="706468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584280" y="285076"/>
            <a:ext cx="1035063" cy="721982"/>
            <a:chOff x="7540629" y="279400"/>
            <a:chExt cx="1014442" cy="70761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071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52467" cy="16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0830315" y="285075"/>
            <a:ext cx="788858" cy="1333054"/>
            <a:chOff x="7769225" y="250825"/>
            <a:chExt cx="773143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07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52468" cy="1615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99297">
                <a:buClr>
                  <a:schemeClr val="tx2"/>
                </a:buClr>
              </a:pPr>
              <a:r>
                <a:rPr lang="x-none" sz="1071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1998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065783" rtl="0" eaLnBrk="1" fontAlgn="base" hangingPunct="1">
        <a:spcBef>
          <a:spcPct val="0"/>
        </a:spcBef>
        <a:spcAft>
          <a:spcPct val="0"/>
        </a:spcAft>
        <a:tabLst>
          <a:tab pos="321246" algn="l"/>
        </a:tabLst>
        <a:defRPr lang="x-none" sz="2321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2pPr>
      <a:lvl3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3pPr>
      <a:lvl4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4pPr>
      <a:lvl5pPr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5pPr>
      <a:lvl6pPr marL="54422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6pPr>
      <a:lvl7pPr marL="1088460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7pPr>
      <a:lvl8pPr marL="163268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8pPr>
      <a:lvl9pPr marL="2176919" algn="l" defTabSz="1065783" rtl="0" eaLnBrk="1" fontAlgn="base" hangingPunct="1">
        <a:spcBef>
          <a:spcPct val="0"/>
        </a:spcBef>
        <a:spcAft>
          <a:spcPct val="0"/>
        </a:spcAft>
        <a:defRPr lang="x-none" sz="2261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65783" rtl="0" eaLnBrk="1" fontAlgn="base" hangingPunct="1">
        <a:spcBef>
          <a:spcPts val="535"/>
        </a:spcBef>
        <a:spcAft>
          <a:spcPts val="535"/>
        </a:spcAft>
        <a:buClr>
          <a:schemeClr val="tx2"/>
        </a:buClr>
        <a:buSzPct val="100000"/>
        <a:defRPr lang="x-none" sz="1428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889" indent="0" algn="l" defTabSz="1065783" rtl="0" eaLnBrk="1" fontAlgn="base" hangingPunct="1">
        <a:spcBef>
          <a:spcPts val="535"/>
        </a:spcBef>
        <a:spcAft>
          <a:spcPts val="535"/>
        </a:spcAft>
        <a:buClr>
          <a:schemeClr val="tx2"/>
        </a:buClr>
        <a:buSzPct val="125000"/>
        <a:buFontTx/>
        <a:buNone/>
        <a:defRPr lang="x-none" sz="1428" b="0" baseline="0">
          <a:solidFill>
            <a:schemeClr val="tx1"/>
          </a:solidFill>
          <a:latin typeface="+mn-lt"/>
        </a:defRPr>
      </a:lvl2pPr>
      <a:lvl3pPr marL="150222" indent="-150222" algn="l" defTabSz="1065783" rtl="0" eaLnBrk="1" fontAlgn="base" hangingPunct="1">
        <a:spcBef>
          <a:spcPct val="0"/>
        </a:spcBef>
        <a:spcAft>
          <a:spcPts val="535"/>
        </a:spcAft>
        <a:buClrTx/>
        <a:buSzPct val="100000"/>
        <a:buFont typeface="Arial" panose="020B0604020202020204" pitchFamily="34" charset="0"/>
        <a:buChar char="•"/>
        <a:defRPr lang="x-none" sz="1428" baseline="0">
          <a:solidFill>
            <a:schemeClr val="tx1"/>
          </a:solidFill>
          <a:latin typeface="+mn-lt"/>
        </a:defRPr>
      </a:lvl3pPr>
      <a:lvl4pPr marL="313200" indent="-162978" algn="l" defTabSz="1065783" rtl="0" eaLnBrk="1" fontAlgn="base" hangingPunct="1">
        <a:spcBef>
          <a:spcPct val="0"/>
        </a:spcBef>
        <a:spcAft>
          <a:spcPts val="535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428" baseline="0">
          <a:solidFill>
            <a:schemeClr val="accent6"/>
          </a:solidFill>
          <a:latin typeface="+mn-lt"/>
        </a:defRPr>
      </a:lvl4pPr>
      <a:lvl5pPr marL="517276" indent="-204076" algn="l" defTabSz="1065783" rtl="0" eaLnBrk="1" fontAlgn="base" hangingPunct="1">
        <a:spcBef>
          <a:spcPct val="0"/>
        </a:spcBef>
        <a:spcAft>
          <a:spcPts val="535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428" baseline="0">
          <a:solidFill>
            <a:schemeClr val="accent6"/>
          </a:solidFill>
          <a:latin typeface="+mn-lt"/>
        </a:defRPr>
      </a:lvl5pPr>
      <a:lvl6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6pPr>
      <a:lvl7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7pPr>
      <a:lvl8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8pPr>
      <a:lvl9pPr marL="892537" indent="-154954" algn="l" defTabSz="10657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904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1pPr>
      <a:lvl2pPr marL="54422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2pPr>
      <a:lvl3pPr marL="1088460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3pPr>
      <a:lvl4pPr marL="163268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4pPr>
      <a:lvl5pPr marL="217691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5pPr>
      <a:lvl6pPr marL="272114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6pPr>
      <a:lvl7pPr marL="3265379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7pPr>
      <a:lvl8pPr marL="380960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8pPr>
      <a:lvl9pPr marL="4353838" algn="l" defTabSz="1088460" rtl="0" eaLnBrk="1" latinLnBrk="0" hangingPunct="1">
        <a:defRPr lang="x-none" sz="21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92">
          <p15:clr>
            <a:srgbClr val="F26B43"/>
          </p15:clr>
        </p15:guide>
        <p15:guide id="3" pos="284">
          <p15:clr>
            <a:srgbClr val="F26B43"/>
          </p15:clr>
        </p15:guide>
        <p15:guide id="4" pos="1436">
          <p15:clr>
            <a:srgbClr val="F26B43"/>
          </p15:clr>
        </p15:guide>
        <p15:guide id="5" pos="7196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0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797">
          <p15:clr>
            <a:srgbClr val="F26B43"/>
          </p15:clr>
        </p15:guide>
        <p15:guide id="12" orient="horz" pos="557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6509300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36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8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26033" y="4197040"/>
            <a:ext cx="174187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 12/6/2018 12:05 PM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37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7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183258" y="1980017"/>
            <a:ext cx="182742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11/2019 21:21 India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667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2A10BF-C95E-47A8-98D8-A20875071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5235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39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59C52FD-1C1B-4802-8AA2-D055EDA810DF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Placeholder"/>
          <p:cNvSpPr>
            <a:spLocks noGrp="1" noChangeArrowheads="1"/>
          </p:cNvSpPr>
          <p:nvPr>
            <p:ph type="title"/>
          </p:nvPr>
        </p:nvSpPr>
        <p:spPr bwMode="auto">
          <a:xfrm>
            <a:off x="609602" y="533401"/>
            <a:ext cx="10972801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1" y="1904999"/>
            <a:ext cx="10972800" cy="4156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4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200" b="1" i="0">
          <a:solidFill>
            <a:srgbClr val="4F2D7F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5pPr>
      <a:lvl6pPr marL="533353"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6pPr>
      <a:lvl7pPr marL="1066705"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7pPr>
      <a:lvl8pPr marL="1600057"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8pPr>
      <a:lvl9pPr marL="2133410" algn="l" rtl="0" eaLnBrk="1" fontAlgn="base" hangingPunct="1">
        <a:spcBef>
          <a:spcPct val="0"/>
        </a:spcBef>
        <a:spcAft>
          <a:spcPct val="0"/>
        </a:spcAft>
        <a:defRPr sz="3266">
          <a:solidFill>
            <a:schemeClr val="tx2"/>
          </a:solidFill>
          <a:latin typeface="Arial" charset="0"/>
        </a:defRPr>
      </a:lvl9pPr>
    </p:titleStyle>
    <p:bodyStyle>
      <a:lvl1pPr marL="333345" indent="-33334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00" b="0" i="0">
          <a:solidFill>
            <a:sysClr val="windowText" lastClr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866698" indent="-333345" algn="l" rtl="0" eaLnBrk="1" fontAlgn="base" hangingPunct="1">
        <a:spcBef>
          <a:spcPct val="20000"/>
        </a:spcBef>
        <a:spcAft>
          <a:spcPct val="0"/>
        </a:spcAft>
        <a:buFont typeface="Arial"/>
        <a:buChar char="•"/>
        <a:defRPr sz="2100" b="0" i="0">
          <a:solidFill>
            <a:sysClr val="windowText" lastClr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400051" indent="-333345" algn="l" rtl="0" eaLnBrk="1" fontAlgn="base" hangingPunct="1">
        <a:spcBef>
          <a:spcPct val="20000"/>
        </a:spcBef>
        <a:spcAft>
          <a:spcPct val="0"/>
        </a:spcAft>
        <a:buFont typeface="Arial"/>
        <a:buChar char="•"/>
        <a:defRPr sz="2100" b="0" i="0">
          <a:solidFill>
            <a:sysClr val="windowText" lastClr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933403" indent="-333345" algn="l" rtl="0" eaLnBrk="1" fontAlgn="base" hangingPunct="1">
        <a:spcBef>
          <a:spcPct val="20000"/>
        </a:spcBef>
        <a:spcAft>
          <a:spcPct val="0"/>
        </a:spcAft>
        <a:buFont typeface="Arial"/>
        <a:buChar char="•"/>
        <a:defRPr sz="2100" b="0" i="0">
          <a:solidFill>
            <a:sysClr val="windowText" lastClr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466756" indent="-333345" algn="l" rtl="0" eaLnBrk="1" fontAlgn="base" hangingPunct="1">
        <a:spcBef>
          <a:spcPct val="20000"/>
        </a:spcBef>
        <a:spcAft>
          <a:spcPct val="0"/>
        </a:spcAft>
        <a:buFont typeface="Arial"/>
        <a:buChar char="•"/>
        <a:defRPr sz="2100" b="0" i="0">
          <a:solidFill>
            <a:sysClr val="windowText" lastClr="000000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2933439" indent="-266676" algn="l" rtl="0" eaLnBrk="1" fontAlgn="base" hangingPunct="1">
        <a:spcBef>
          <a:spcPct val="20000"/>
        </a:spcBef>
        <a:spcAft>
          <a:spcPct val="0"/>
        </a:spcAft>
        <a:buChar char="»"/>
        <a:defRPr sz="3266">
          <a:solidFill>
            <a:schemeClr val="tx1"/>
          </a:solidFill>
          <a:latin typeface="+mn-lt"/>
        </a:defRPr>
      </a:lvl6pPr>
      <a:lvl7pPr marL="3466791" indent="-266676" algn="l" rtl="0" eaLnBrk="1" fontAlgn="base" hangingPunct="1">
        <a:spcBef>
          <a:spcPct val="20000"/>
        </a:spcBef>
        <a:spcAft>
          <a:spcPct val="0"/>
        </a:spcAft>
        <a:buChar char="»"/>
        <a:defRPr sz="3266">
          <a:solidFill>
            <a:schemeClr val="tx1"/>
          </a:solidFill>
          <a:latin typeface="+mn-lt"/>
        </a:defRPr>
      </a:lvl7pPr>
      <a:lvl8pPr marL="4000144" indent="-266676" algn="l" rtl="0" eaLnBrk="1" fontAlgn="base" hangingPunct="1">
        <a:spcBef>
          <a:spcPct val="20000"/>
        </a:spcBef>
        <a:spcAft>
          <a:spcPct val="0"/>
        </a:spcAft>
        <a:buChar char="»"/>
        <a:defRPr sz="3266">
          <a:solidFill>
            <a:schemeClr val="tx1"/>
          </a:solidFill>
          <a:latin typeface="+mn-lt"/>
        </a:defRPr>
      </a:lvl8pPr>
      <a:lvl9pPr marL="4533496" indent="-266676" algn="l" rtl="0" eaLnBrk="1" fontAlgn="base" hangingPunct="1">
        <a:spcBef>
          <a:spcPct val="20000"/>
        </a:spcBef>
        <a:spcAft>
          <a:spcPct val="0"/>
        </a:spcAft>
        <a:buChar char="»"/>
        <a:defRPr sz="326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3353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66705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57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33410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66763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00115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467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66820" algn="l" defTabSz="106670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">
          <p15:clr>
            <a:srgbClr val="F26B43"/>
          </p15:clr>
        </p15:guide>
        <p15:guide id="3" pos="5472">
          <p15:clr>
            <a:srgbClr val="F26B43"/>
          </p15:clr>
        </p15:guide>
        <p15:guide id="4" orient="horz" pos="252">
          <p15:clr>
            <a:srgbClr val="F26B43"/>
          </p15:clr>
        </p15:guide>
        <p15:guide id="5" pos="648">
          <p15:clr>
            <a:srgbClr val="F26B43"/>
          </p15:clr>
        </p15:guide>
        <p15:guide id="6" pos="720">
          <p15:clr>
            <a:srgbClr val="F26B43"/>
          </p15:clr>
        </p15:guide>
        <p15:guide id="7" pos="1080">
          <p15:clr>
            <a:srgbClr val="F26B43"/>
          </p15:clr>
        </p15:guide>
        <p15:guide id="8" pos="2928">
          <p15:clr>
            <a:srgbClr val="F26B43"/>
          </p15:clr>
        </p15:guide>
        <p15:guide id="9" pos="1152">
          <p15:clr>
            <a:srgbClr val="F26B43"/>
          </p15:clr>
        </p15:guide>
        <p15:guide id="10" pos="1536">
          <p15:clr>
            <a:srgbClr val="F26B43"/>
          </p15:clr>
        </p15:guide>
        <p15:guide id="11" pos="1608">
          <p15:clr>
            <a:srgbClr val="F26B43"/>
          </p15:clr>
        </p15:guide>
        <p15:guide id="12" pos="1968">
          <p15:clr>
            <a:srgbClr val="F26B43"/>
          </p15:clr>
        </p15:guide>
        <p15:guide id="13" pos="2040">
          <p15:clr>
            <a:srgbClr val="F26B43"/>
          </p15:clr>
        </p15:guide>
        <p15:guide id="14" pos="2400">
          <p15:clr>
            <a:srgbClr val="F26B43"/>
          </p15:clr>
        </p15:guide>
        <p15:guide id="15" pos="2472">
          <p15:clr>
            <a:srgbClr val="F26B43"/>
          </p15:clr>
        </p15:guide>
        <p15:guide id="16" pos="2856">
          <p15:clr>
            <a:srgbClr val="F26B43"/>
          </p15:clr>
        </p15:guide>
        <p15:guide id="17" pos="3288">
          <p15:clr>
            <a:srgbClr val="F26B43"/>
          </p15:clr>
        </p15:guide>
        <p15:guide id="18" pos="3360">
          <p15:clr>
            <a:srgbClr val="F26B43"/>
          </p15:clr>
        </p15:guide>
        <p15:guide id="19" pos="3720">
          <p15:clr>
            <a:srgbClr val="F26B43"/>
          </p15:clr>
        </p15:guide>
        <p15:guide id="20" pos="3792">
          <p15:clr>
            <a:srgbClr val="F26B43"/>
          </p15:clr>
        </p15:guide>
        <p15:guide id="21" pos="4152">
          <p15:clr>
            <a:srgbClr val="F26B43"/>
          </p15:clr>
        </p15:guide>
        <p15:guide id="22" pos="4224">
          <p15:clr>
            <a:srgbClr val="F26B43"/>
          </p15:clr>
        </p15:guide>
        <p15:guide id="23" pos="4608">
          <p15:clr>
            <a:srgbClr val="F26B43"/>
          </p15:clr>
        </p15:guide>
        <p15:guide id="24" pos="4680">
          <p15:clr>
            <a:srgbClr val="F26B43"/>
          </p15:clr>
        </p15:guide>
        <p15:guide id="25" pos="5040">
          <p15:clr>
            <a:srgbClr val="F26B43"/>
          </p15:clr>
        </p15:guide>
        <p15:guide id="26" pos="5112">
          <p15:clr>
            <a:srgbClr val="F26B43"/>
          </p15:clr>
        </p15:guide>
        <p15:guide id="27" orient="horz" pos="636">
          <p15:clr>
            <a:srgbClr val="F26B43"/>
          </p15:clr>
        </p15:guide>
        <p15:guide id="28" orient="horz" pos="1020">
          <p15:clr>
            <a:srgbClr val="F26B43"/>
          </p15:clr>
        </p15:guide>
        <p15:guide id="29" orient="horz" pos="1380">
          <p15:clr>
            <a:srgbClr val="F26B43"/>
          </p15:clr>
        </p15:guide>
        <p15:guide id="30" orient="horz" pos="1764">
          <p15:clr>
            <a:srgbClr val="F26B43"/>
          </p15:clr>
        </p15:guide>
        <p15:guide id="31" orient="horz" pos="2148">
          <p15:clr>
            <a:srgbClr val="F26B43"/>
          </p15:clr>
        </p15:guide>
        <p15:guide id="32" orient="horz" pos="2508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20E9B2-4252-4B1B-BACB-421758170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84219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63"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0D85AD8-14F6-4F8D-AF28-2126DABE53A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4300" b="1" i="0" baseline="0" dirty="0">
              <a:latin typeface="Effra"/>
              <a:ea typeface="+mj-ea"/>
              <a:cs typeface="+mj-cs"/>
              <a:sym typeface="Effr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472" y="1280160"/>
            <a:ext cx="4572000" cy="4572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6939" y="5639887"/>
            <a:ext cx="3351201" cy="114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301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hdr="0" ftr="0" dt="0"/>
  <p:txStyles>
    <p:titleStyle>
      <a:lvl1pPr algn="l" defTabSz="457000" rtl="0" eaLnBrk="1" latinLnBrk="0" hangingPunct="1">
        <a:lnSpc>
          <a:spcPct val="85000"/>
        </a:lnSpc>
        <a:spcBef>
          <a:spcPct val="0"/>
        </a:spcBef>
        <a:buNone/>
        <a:defRPr sz="4300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000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00" b="1" i="0" kern="1200" cap="all" baseline="0">
          <a:solidFill>
            <a:schemeClr val="tx1"/>
          </a:solidFill>
          <a:latin typeface="Effra"/>
          <a:ea typeface="+mn-ea"/>
          <a:cs typeface="+mn-cs"/>
        </a:defRPr>
      </a:lvl1pPr>
      <a:lvl2pPr marL="0" indent="0" algn="l" defTabSz="457000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00" b="0" i="0" kern="1200" cap="all">
          <a:solidFill>
            <a:schemeClr val="tx1"/>
          </a:solidFill>
          <a:latin typeface="Effra Light"/>
          <a:ea typeface="+mn-ea"/>
          <a:cs typeface="Effra"/>
        </a:defRPr>
      </a:lvl2pPr>
      <a:lvl3pPr marL="0" indent="0" algn="l" defTabSz="457000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00" b="1" i="0" kern="1200" cap="all" baseline="0">
          <a:solidFill>
            <a:schemeClr val="tx2"/>
          </a:solidFill>
          <a:latin typeface="Effra"/>
          <a:ea typeface="+mn-ea"/>
          <a:cs typeface="Effra"/>
        </a:defRPr>
      </a:lvl3pPr>
      <a:lvl4pPr marL="0" indent="0" algn="l" defTabSz="457000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00" b="0" i="0" kern="1200" cap="all">
          <a:solidFill>
            <a:schemeClr val="tx2"/>
          </a:solidFill>
          <a:latin typeface="Effra Light"/>
          <a:ea typeface="+mn-ea"/>
          <a:cs typeface="Effra Light"/>
        </a:defRPr>
      </a:lvl4pPr>
      <a:lvl5pPr marL="0" indent="0" algn="l" defTabSz="457000" rtl="0" eaLnBrk="1" latinLnBrk="0" hangingPunct="1">
        <a:lnSpc>
          <a:spcPct val="66000"/>
        </a:lnSpc>
        <a:spcBef>
          <a:spcPts val="0"/>
        </a:spcBef>
        <a:spcAft>
          <a:spcPts val="0"/>
        </a:spcAft>
        <a:buFontTx/>
        <a:buNone/>
        <a:defRPr sz="4300" b="0" i="0" kern="1200" cap="all" baseline="0">
          <a:solidFill>
            <a:schemeClr val="accent2"/>
          </a:solidFill>
          <a:latin typeface="Effra"/>
          <a:ea typeface="+mn-ea"/>
          <a:cs typeface="Effra"/>
        </a:defRPr>
      </a:lvl5pPr>
      <a:lvl6pPr marL="0" indent="0" algn="l" defTabSz="4570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6pPr>
      <a:lvl7pPr marL="0" indent="0" algn="l" defTabSz="457000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7pPr>
      <a:lvl8pPr marL="3427501" indent="-228501" algn="l" defTabSz="4570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01" indent="-228501" algn="l" defTabSz="4570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01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00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01" algn="l" defTabSz="457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6624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tags" Target="../tags/tag550.xml"/><Relationship Id="rId21" Type="http://schemas.openxmlformats.org/officeDocument/2006/relationships/image" Target="../media/image43.png"/><Relationship Id="rId7" Type="http://schemas.openxmlformats.org/officeDocument/2006/relationships/image" Target="../media/image10.emf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549.xml"/><Relationship Id="rId16" Type="http://schemas.openxmlformats.org/officeDocument/2006/relationships/image" Target="../media/image39.png"/><Relationship Id="rId20" Type="http://schemas.openxmlformats.org/officeDocument/2006/relationships/image" Target="cid:ii_k74vy5a30" TargetMode="Externa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11" Type="http://schemas.openxmlformats.org/officeDocument/2006/relationships/image" Target="../media/image34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png"/><Relationship Id="rId4" Type="http://schemas.openxmlformats.org/officeDocument/2006/relationships/slideLayout" Target="../slideLayouts/slideLayout106.xml"/><Relationship Id="rId9" Type="http://schemas.microsoft.com/office/2007/relationships/hdphoto" Target="../media/hdphoto1.wdp"/><Relationship Id="rId1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tags" Target="../tags/tag552.xml"/><Relationship Id="rId7" Type="http://schemas.openxmlformats.org/officeDocument/2006/relationships/oleObject" Target="../embeddings/oleObject90.bin"/><Relationship Id="rId2" Type="http://schemas.openxmlformats.org/officeDocument/2006/relationships/tags" Target="../tags/tag55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46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microsoft.com/office/2007/relationships/hdphoto" Target="../media/hdphoto1.wdp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59.xml"/><Relationship Id="rId13" Type="http://schemas.openxmlformats.org/officeDocument/2006/relationships/image" Target="../media/image49.png"/><Relationship Id="rId18" Type="http://schemas.openxmlformats.org/officeDocument/2006/relationships/image" Target="../media/image53.svg"/><Relationship Id="rId3" Type="http://schemas.openxmlformats.org/officeDocument/2006/relationships/tags" Target="../tags/tag554.xml"/><Relationship Id="rId21" Type="http://schemas.openxmlformats.org/officeDocument/2006/relationships/image" Target="../media/image56.png"/><Relationship Id="rId7" Type="http://schemas.openxmlformats.org/officeDocument/2006/relationships/tags" Target="../tags/tag558.xml"/><Relationship Id="rId12" Type="http://schemas.openxmlformats.org/officeDocument/2006/relationships/image" Target="../media/image25.emf"/><Relationship Id="rId17" Type="http://schemas.openxmlformats.org/officeDocument/2006/relationships/image" Target="../media/image52.png"/><Relationship Id="rId2" Type="http://schemas.openxmlformats.org/officeDocument/2006/relationships/tags" Target="../tags/tag553.xml"/><Relationship Id="rId16" Type="http://schemas.openxmlformats.org/officeDocument/2006/relationships/image" Target="../media/image51.svg"/><Relationship Id="rId20" Type="http://schemas.openxmlformats.org/officeDocument/2006/relationships/image" Target="../media/image55.svg"/><Relationship Id="rId1" Type="http://schemas.openxmlformats.org/officeDocument/2006/relationships/vmlDrawing" Target="../drawings/vmlDrawing91.vml"/><Relationship Id="rId6" Type="http://schemas.openxmlformats.org/officeDocument/2006/relationships/tags" Target="../tags/tag557.xml"/><Relationship Id="rId11" Type="http://schemas.openxmlformats.org/officeDocument/2006/relationships/oleObject" Target="../embeddings/oleObject91.bin"/><Relationship Id="rId5" Type="http://schemas.openxmlformats.org/officeDocument/2006/relationships/tags" Target="../tags/tag556.xml"/><Relationship Id="rId15" Type="http://schemas.openxmlformats.org/officeDocument/2006/relationships/image" Target="../media/image50.png"/><Relationship Id="rId23" Type="http://schemas.openxmlformats.org/officeDocument/2006/relationships/image" Target="../media/image41.png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54.png"/><Relationship Id="rId4" Type="http://schemas.openxmlformats.org/officeDocument/2006/relationships/tags" Target="../tags/tag555.xml"/><Relationship Id="rId9" Type="http://schemas.openxmlformats.org/officeDocument/2006/relationships/slideLayout" Target="../slideLayouts/slideLayout106.xml"/><Relationship Id="rId14" Type="http://schemas.microsoft.com/office/2007/relationships/hdphoto" Target="../media/hdphoto2.wdp"/><Relationship Id="rId22" Type="http://schemas.openxmlformats.org/officeDocument/2006/relationships/image" Target="../media/image5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4.xml"/><Relationship Id="rId6" Type="http://schemas.openxmlformats.org/officeDocument/2006/relationships/hyperlink" Target="mailto:abaumel@mdic.org" TargetMode="External"/><Relationship Id="rId5" Type="http://schemas.openxmlformats.org/officeDocument/2006/relationships/image" Target="../media/image59.png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B82E7C9-3FF7-8949-8F5A-5F970281D3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3125" y="4082850"/>
            <a:ext cx="11385168" cy="924713"/>
          </a:xfrm>
        </p:spPr>
        <p:txBody>
          <a:bodyPr>
            <a:normAutofit/>
          </a:bodyPr>
          <a:lstStyle/>
          <a:p>
            <a:r>
              <a:rPr lang="en-US" sz="2400" dirty="0"/>
              <a:t>Program Chair: Kathryn Merrill, Medtroni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42E0D-60E9-364E-AE7A-5CC7AB5819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arch 12,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0ED3DF0-4563-6242-B570-04CF452BE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562" y="2000733"/>
            <a:ext cx="11768875" cy="1428267"/>
          </a:xfrm>
        </p:spPr>
        <p:txBody>
          <a:bodyPr/>
          <a:lstStyle/>
          <a:p>
            <a:r>
              <a:rPr lang="en-US" sz="5800" dirty="0"/>
              <a:t>MDIC ‘Non-Compliant Site’ Pilot Study</a:t>
            </a:r>
          </a:p>
        </p:txBody>
      </p:sp>
    </p:spTree>
    <p:extLst>
      <p:ext uri="{BB962C8B-B14F-4D97-AF65-F5344CB8AC3E}">
        <p14:creationId xmlns:p14="http://schemas.microsoft.com/office/powerpoint/2010/main" val="1227907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3976F3-2E2D-430B-91DF-3CEB6B5969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623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1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98D5066-F1B7-43B8-A6FC-0F30B726AB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1F536C1-5A9B-4A52-ACEF-8B467633164D}"/>
              </a:ext>
            </a:extLst>
          </p:cNvPr>
          <p:cNvPicPr>
            <a:picLocks/>
          </p:cNvPicPr>
          <p:nvPr/>
        </p:nvPicPr>
        <p:blipFill rotWithShape="1"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0078"/>
            <a:ext cx="12192000" cy="1387979"/>
          </a:xfrm>
          <a:prstGeom prst="rect">
            <a:avLst/>
          </a:prstGeom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D7DCEDBB-CB8E-4934-95B7-A1262B997740}"/>
              </a:ext>
            </a:extLst>
          </p:cNvPr>
          <p:cNvSpPr>
            <a:spLocks/>
          </p:cNvSpPr>
          <p:nvPr/>
        </p:nvSpPr>
        <p:spPr>
          <a:xfrm>
            <a:off x="0" y="1380078"/>
            <a:ext cx="12192000" cy="1387979"/>
          </a:xfrm>
          <a:prstGeom prst="rect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43D3D4-450F-4E0B-89AC-8D4FF6D1E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35531"/>
          </a:xfrm>
        </p:spPr>
        <p:txBody>
          <a:bodyPr>
            <a:spAutoFit/>
          </a:bodyPr>
          <a:lstStyle/>
          <a:p>
            <a:r>
              <a:rPr lang="en-US" dirty="0">
                <a:latin typeface="Calibri Light" panose="020F0302020204030204" pitchFamily="34" charset="0"/>
              </a:rPr>
              <a:t>‘Non-Compliant Site’ Pilot Study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1358ADC-1806-45BA-9212-E69FF2901AB5}"/>
              </a:ext>
            </a:extLst>
          </p:cNvPr>
          <p:cNvCxnSpPr>
            <a:cxnSpLocks/>
          </p:cNvCxnSpPr>
          <p:nvPr/>
        </p:nvCxnSpPr>
        <p:spPr>
          <a:xfrm>
            <a:off x="0" y="138007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DC72ACC-CF24-4931-AAEF-78503B7B028B}"/>
              </a:ext>
            </a:extLst>
          </p:cNvPr>
          <p:cNvSpPr txBox="1">
            <a:spLocks/>
          </p:cNvSpPr>
          <p:nvPr/>
        </p:nvSpPr>
        <p:spPr>
          <a:xfrm>
            <a:off x="550607" y="5136562"/>
            <a:ext cx="4119717" cy="150316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28" baseline="0"/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28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28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28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28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 Day F2F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lang="en-US" sz="18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rPr>
              <a:t>March 13</a:t>
            </a:r>
            <a:r>
              <a:rPr lang="en-US" sz="1800" baseline="300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rPr>
              <a:t>th</a:t>
            </a:r>
            <a:endParaRPr lang="en-US" sz="1800" dirty="0">
              <a:solidFill>
                <a:prstClr val="white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kumimoji="0" lang="en-US" sz="1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DIC DC Office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endParaRPr kumimoji="0" lang="en-US" sz="5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r>
              <a:rPr lang="en-US" sz="2000" b="1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rPr>
              <a:t>Output: Strategy for the 1</a:t>
            </a:r>
            <a:r>
              <a:rPr lang="en-US" sz="2000" b="1" baseline="300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rPr>
              <a:t>st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rPr>
              <a:t> pilot site</a:t>
            </a:r>
          </a:p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546A"/>
              </a:buClr>
              <a:buSzPct val="100000"/>
              <a:buFontTx/>
              <a:buNone/>
              <a:tabLst/>
              <a:defRPr/>
            </a:pP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D9CAD3-262E-4110-A984-42A8A6BF3956}"/>
              </a:ext>
            </a:extLst>
          </p:cNvPr>
          <p:cNvSpPr txBox="1">
            <a:spLocks/>
          </p:cNvSpPr>
          <p:nvPr/>
        </p:nvSpPr>
        <p:spPr>
          <a:xfrm>
            <a:off x="5028399" y="2372620"/>
            <a:ext cx="6325402" cy="2492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DA, MDIC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Industry Members: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D8A296F-325F-456F-B012-4EDDFCE2A45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6430" y="4397571"/>
            <a:ext cx="1256965" cy="48625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C1D0923-E979-45E4-8617-8D05DF4B4DF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3417" y="3064186"/>
            <a:ext cx="1087631" cy="46369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346C860-7BB6-4FDC-A04F-DD66765DFC00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6978" y="5802809"/>
            <a:ext cx="2596335" cy="70528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E1CD049-0560-4DBF-97BF-9CB5D1C9E2E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45905" y="4572560"/>
            <a:ext cx="1525950" cy="27559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E1176EA-594A-4C20-9D6A-BB7C906A25D9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395" y="3110871"/>
            <a:ext cx="1444604" cy="6252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F0FBE2B-EAF1-4386-9765-BBD8416720A5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1532" t="15054" r="81774" b="69846"/>
          <a:stretch/>
        </p:blipFill>
        <p:spPr>
          <a:xfrm>
            <a:off x="5028399" y="2890084"/>
            <a:ext cx="945578" cy="119986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4E9CBED-F7F6-4A8B-8DBD-4D83E32D717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109" y="6016616"/>
            <a:ext cx="1876412" cy="52005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3DF3309-6C73-402F-B5C8-D46FE3CF19D2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54500" t="48261" r="32984" b="47720"/>
          <a:stretch/>
        </p:blipFill>
        <p:spPr>
          <a:xfrm>
            <a:off x="8521254" y="5477921"/>
            <a:ext cx="2596335" cy="468909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B38DE077-850B-4777-81F0-3C208A935B0B}"/>
              </a:ext>
            </a:extLst>
          </p:cNvPr>
          <p:cNvSpPr/>
          <p:nvPr/>
        </p:nvSpPr>
        <p:spPr>
          <a:xfrm>
            <a:off x="550607" y="2890084"/>
            <a:ext cx="4119717" cy="237134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8862FEEA-6003-4E60-A649-CF80EDE807E2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43148" t="65976" r="39760" b="20255"/>
          <a:stretch/>
        </p:blipFill>
        <p:spPr>
          <a:xfrm>
            <a:off x="828909" y="3269253"/>
            <a:ext cx="3563111" cy="161457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Rectangle 116">
            <a:extLst>
              <a:ext uri="{FF2B5EF4-FFF2-40B4-BE49-F238E27FC236}">
                <a16:creationId xmlns:a16="http://schemas.microsoft.com/office/drawing/2014/main" id="{72EAB907-1885-415B-A008-C1624C48B6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97013" y="4490645"/>
            <a:ext cx="2355308" cy="119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656499" name="Picture 115">
            <a:extLst>
              <a:ext uri="{FF2B5EF4-FFF2-40B4-BE49-F238E27FC236}">
                <a16:creationId xmlns:a16="http://schemas.microsoft.com/office/drawing/2014/main" id="{A76C24DB-61F1-4A62-9DEE-688CDE13F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r:link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830" y="5088099"/>
            <a:ext cx="2024086" cy="65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B73724-6EB9-4BD1-9E66-243F284B6B0D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7390" t="36339" r="10625" b="34661"/>
          <a:stretch/>
        </p:blipFill>
        <p:spPr>
          <a:xfrm>
            <a:off x="7009703" y="3997875"/>
            <a:ext cx="2362794" cy="470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0231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E04A8FE1-0771-4575-B926-F58C3617134A}"/>
              </a:ext>
            </a:extLst>
          </p:cNvPr>
          <p:cNvSpPr txBox="1">
            <a:spLocks/>
          </p:cNvSpPr>
          <p:nvPr/>
        </p:nvSpPr>
        <p:spPr>
          <a:xfrm>
            <a:off x="193012" y="286793"/>
            <a:ext cx="10515600" cy="535531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Help us select a New Name!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FFEB4B-9DE4-4E72-A887-E521E7F0889D}"/>
              </a:ext>
            </a:extLst>
          </p:cNvPr>
          <p:cNvSpPr txBox="1"/>
          <p:nvPr/>
        </p:nvSpPr>
        <p:spPr>
          <a:xfrm>
            <a:off x="265471" y="3375910"/>
            <a:ext cx="583052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Effra" panose="020B0603020203020204" pitchFamily="34" charset="0"/>
              </a:rPr>
              <a:t>We are </a:t>
            </a:r>
            <a:r>
              <a:rPr lang="en-US" b="1" dirty="0">
                <a:latin typeface="Effra" panose="020B0603020203020204" pitchFamily="34" charset="0"/>
              </a:rPr>
              <a:t>looking for a Name </a:t>
            </a:r>
            <a:r>
              <a:rPr lang="en-US" dirty="0">
                <a:latin typeface="Effra" panose="020B0603020203020204" pitchFamily="34" charset="0"/>
              </a:rPr>
              <a:t>that will reflects </a:t>
            </a:r>
            <a:r>
              <a:rPr lang="en-US" b="1" dirty="0">
                <a:latin typeface="Effra" panose="020B0603020203020204" pitchFamily="34" charset="0"/>
              </a:rPr>
              <a:t>the intent of the program</a:t>
            </a:r>
            <a:r>
              <a:rPr lang="en-US" dirty="0">
                <a:latin typeface="Effra" panose="020B0603020203020204" pitchFamily="34" charset="0"/>
              </a:rPr>
              <a:t> and gives organizations </a:t>
            </a:r>
            <a:r>
              <a:rPr lang="en-US" b="1" dirty="0">
                <a:latin typeface="Effra" panose="020B0603020203020204" pitchFamily="34" charset="0"/>
              </a:rPr>
              <a:t>a reason to be proud </a:t>
            </a:r>
            <a:r>
              <a:rPr lang="en-US" dirty="0">
                <a:latin typeface="Effra" panose="020B0603020203020204" pitchFamily="34" charset="0"/>
              </a:rPr>
              <a:t>of their participation!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Effra" panose="020B0603020203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Effra" panose="020B0603020203020204" pitchFamily="34" charset="0"/>
              </a:rPr>
              <a:t>Please put your </a:t>
            </a:r>
            <a:r>
              <a:rPr lang="en-US" b="1" dirty="0">
                <a:latin typeface="Effra" panose="020B0603020203020204" pitchFamily="34" charset="0"/>
              </a:rPr>
              <a:t>potential name </a:t>
            </a:r>
            <a:r>
              <a:rPr lang="en-US" dirty="0">
                <a:latin typeface="Effra" panose="020B0603020203020204" pitchFamily="34" charset="0"/>
              </a:rPr>
              <a:t>in the </a:t>
            </a:r>
            <a:r>
              <a:rPr lang="en-US" b="1" dirty="0">
                <a:latin typeface="Effra" panose="020B0603020203020204" pitchFamily="34" charset="0"/>
              </a:rPr>
              <a:t>suggestion box </a:t>
            </a:r>
            <a:r>
              <a:rPr lang="en-US" dirty="0">
                <a:latin typeface="Effra" panose="020B0603020203020204" pitchFamily="34" charset="0"/>
              </a:rPr>
              <a:t>before you leave today!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>
              <a:latin typeface="Effra" panose="020B0603020203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>
                <a:latin typeface="Effra" panose="020B0603020203020204" pitchFamily="34" charset="0"/>
              </a:rPr>
              <a:t>The team will </a:t>
            </a:r>
            <a:r>
              <a:rPr lang="en-US" b="1" dirty="0">
                <a:latin typeface="Effra" panose="020B0603020203020204" pitchFamily="34" charset="0"/>
              </a:rPr>
              <a:t>consider the options </a:t>
            </a:r>
            <a:r>
              <a:rPr lang="en-US" dirty="0">
                <a:latin typeface="Effra" panose="020B0603020203020204" pitchFamily="34" charset="0"/>
              </a:rPr>
              <a:t>and make a </a:t>
            </a:r>
            <a:r>
              <a:rPr lang="en-US" b="1" dirty="0">
                <a:latin typeface="Effra" panose="020B0603020203020204" pitchFamily="34" charset="0"/>
              </a:rPr>
              <a:t>recommendation to the MDIC </a:t>
            </a:r>
            <a:r>
              <a:rPr lang="en-US" b="1" dirty="0" err="1">
                <a:latin typeface="Effra" panose="020B0603020203020204" pitchFamily="34" charset="0"/>
              </a:rPr>
              <a:t>CfQ</a:t>
            </a:r>
            <a:r>
              <a:rPr lang="en-US" b="1" dirty="0">
                <a:latin typeface="Effra" panose="020B0603020203020204" pitchFamily="34" charset="0"/>
              </a:rPr>
              <a:t> Steering Committee</a:t>
            </a:r>
            <a:r>
              <a:rPr lang="en-US" dirty="0">
                <a:latin typeface="Effra" panose="020B0603020203020204" pitchFamily="34" charset="0"/>
              </a:rPr>
              <a:t> who will select the one that best fits the program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E1FBE34-409E-4C5B-9E77-68BF3EF78DB2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0078"/>
            <a:ext cx="12192000" cy="1387979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85EF0BCB-30EB-43E8-A820-1F7965EF792F}"/>
              </a:ext>
            </a:extLst>
          </p:cNvPr>
          <p:cNvSpPr>
            <a:spLocks/>
          </p:cNvSpPr>
          <p:nvPr/>
        </p:nvSpPr>
        <p:spPr>
          <a:xfrm>
            <a:off x="0" y="1380079"/>
            <a:ext cx="12192000" cy="1387979"/>
          </a:xfrm>
          <a:prstGeom prst="rect">
            <a:avLst/>
          </a:prstGeom>
          <a:solidFill>
            <a:srgbClr val="4472C4">
              <a:alpha val="7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5045C1-B539-42B5-9868-62487F313BD4}"/>
              </a:ext>
            </a:extLst>
          </p:cNvPr>
          <p:cNvCxnSpPr>
            <a:cxnSpLocks/>
          </p:cNvCxnSpPr>
          <p:nvPr/>
        </p:nvCxnSpPr>
        <p:spPr>
          <a:xfrm>
            <a:off x="0" y="1380079"/>
            <a:ext cx="12192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D3D5B1C4-3833-482D-82C1-9B65834DB22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443" t="26881" r="19960" b="41005"/>
          <a:stretch/>
        </p:blipFill>
        <p:spPr>
          <a:xfrm>
            <a:off x="2257786" y="1253142"/>
            <a:ext cx="2235555" cy="1641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E37084-DFAE-491B-A74F-287C379884B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3468" t="17635" r="28065" b="44803"/>
          <a:stretch/>
        </p:blipFill>
        <p:spPr>
          <a:xfrm>
            <a:off x="6902245" y="876149"/>
            <a:ext cx="4768645" cy="545582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95152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1BFE04EE-2BE5-4CB5-955F-7F9C4A41944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250" t="18759" r="4477" b="47139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0E8B1A-1AB5-45A9-A56A-1EA628FFB9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0" name="think-cell Slide" r:id="rId7" imgW="470" imgH="471" progId="TCLayout.ActiveDocument.1">
                  <p:embed/>
                </p:oleObj>
              </mc:Choice>
              <mc:Fallback>
                <p:oleObj name="think-cell Slide" r:id="rId7" imgW="470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0E8B1A-1AB5-45A9-A56A-1EA628FFB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B20F35-1519-4301-AA59-10B9F7751B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95" name="Title 2">
            <a:extLst>
              <a:ext uri="{FF2B5EF4-FFF2-40B4-BE49-F238E27FC236}">
                <a16:creationId xmlns:a16="http://schemas.microsoft.com/office/drawing/2014/main" id="{7C3502E6-7BB0-4652-BD7D-05ABB9FBAF58}"/>
              </a:ext>
            </a:extLst>
          </p:cNvPr>
          <p:cNvSpPr txBox="1">
            <a:spLocks/>
          </p:cNvSpPr>
          <p:nvPr/>
        </p:nvSpPr>
        <p:spPr>
          <a:xfrm>
            <a:off x="49794" y="144376"/>
            <a:ext cx="10515600" cy="535531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ilot Study Progress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C29A0C-51A5-45B6-A99F-14C709925C02}"/>
              </a:ext>
            </a:extLst>
          </p:cNvPr>
          <p:cNvSpPr txBox="1"/>
          <p:nvPr/>
        </p:nvSpPr>
        <p:spPr>
          <a:xfrm>
            <a:off x="158750" y="1661621"/>
            <a:ext cx="29044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Effra" panose="020B0603020203020204" pitchFamily="34" charset="0"/>
              </a:rPr>
              <a:t>Team Form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latin typeface="Effra" panose="020B0603020203020204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60E5EFA-EDB6-41E7-B1C1-9FC4C716BF14}"/>
              </a:ext>
            </a:extLst>
          </p:cNvPr>
          <p:cNvSpPr txBox="1"/>
          <p:nvPr/>
        </p:nvSpPr>
        <p:spPr>
          <a:xfrm>
            <a:off x="158750" y="2254136"/>
            <a:ext cx="23496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Effra" panose="020B0603020203020204" pitchFamily="34" charset="0"/>
              </a:rPr>
              <a:t>Alignment around pilot go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latin typeface="Effra" panose="020B0603020203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7E8320D-1CFC-4B32-9D48-394E70F332EB}"/>
              </a:ext>
            </a:extLst>
          </p:cNvPr>
          <p:cNvSpPr txBox="1"/>
          <p:nvPr/>
        </p:nvSpPr>
        <p:spPr>
          <a:xfrm>
            <a:off x="150727" y="3207081"/>
            <a:ext cx="290448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Effra" panose="020B0603020203020204" pitchFamily="34" charset="0"/>
              </a:rPr>
              <a:t>Identification of Key Program Elem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latin typeface="Effra" panose="020B0603020203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939CF7E-B3BE-4FC6-B801-2C3882861D12}"/>
              </a:ext>
            </a:extLst>
          </p:cNvPr>
          <p:cNvCxnSpPr/>
          <p:nvPr/>
        </p:nvCxnSpPr>
        <p:spPr>
          <a:xfrm>
            <a:off x="3063240" y="1649833"/>
            <a:ext cx="0" cy="311449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13D6EB36-C4B6-4026-A91A-0A2A5A0358EA}"/>
              </a:ext>
            </a:extLst>
          </p:cNvPr>
          <p:cNvSpPr txBox="1"/>
          <p:nvPr/>
        </p:nvSpPr>
        <p:spPr>
          <a:xfrm>
            <a:off x="3234267" y="1680178"/>
            <a:ext cx="353800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Effra" panose="020B0603020203020204" pitchFamily="34" charset="0"/>
              </a:rPr>
              <a:t>Initial Pilot Study Definition</a:t>
            </a:r>
          </a:p>
          <a:p>
            <a:endParaRPr lang="en-US" sz="2000" b="1" dirty="0">
              <a:latin typeface="Effra" panose="020B0603020203020204" pitchFamily="34" charset="0"/>
            </a:endParaRPr>
          </a:p>
          <a:p>
            <a:r>
              <a:rPr lang="en-US" sz="2000" b="1" dirty="0">
                <a:latin typeface="Effra" panose="020B0603020203020204" pitchFamily="34" charset="0"/>
              </a:rPr>
              <a:t>Enrollment Requirements</a:t>
            </a:r>
          </a:p>
          <a:p>
            <a:endParaRPr lang="en-US" sz="2000" b="1" dirty="0">
              <a:latin typeface="Effra" panose="020B0603020203020204" pitchFamily="34" charset="0"/>
            </a:endParaRPr>
          </a:p>
          <a:p>
            <a:r>
              <a:rPr lang="en-US" sz="2000" b="1" dirty="0">
                <a:latin typeface="Effra" panose="020B0603020203020204" pitchFamily="34" charset="0"/>
              </a:rPr>
              <a:t>Multiple learning cycles through test case scenarios</a:t>
            </a:r>
          </a:p>
          <a:p>
            <a:pPr marL="342900"/>
            <a:r>
              <a:rPr lang="en-US" sz="2000" b="1" dirty="0">
                <a:latin typeface="Effra" panose="020B0603020203020204" pitchFamily="34" charset="0"/>
              </a:rPr>
              <a:t>Phase 1….</a:t>
            </a:r>
          </a:p>
          <a:p>
            <a:r>
              <a:rPr lang="en-US" sz="2000" b="1" dirty="0">
                <a:latin typeface="Effra" panose="020B0603020203020204" pitchFamily="34" charset="0"/>
              </a:rPr>
              <a:t>	Phase 2…</a:t>
            </a:r>
          </a:p>
          <a:p>
            <a:r>
              <a:rPr lang="en-US" sz="2000" b="1" dirty="0">
                <a:latin typeface="Effra" panose="020B0603020203020204" pitchFamily="34" charset="0"/>
              </a:rPr>
              <a:t>		Phase 3….</a:t>
            </a:r>
          </a:p>
          <a:p>
            <a:endParaRPr lang="en-US" sz="2000" b="1" dirty="0">
              <a:latin typeface="Effra" panose="020B0603020203020204" pitchFamily="34" charset="0"/>
            </a:endParaRPr>
          </a:p>
          <a:p>
            <a:endParaRPr lang="en-US" sz="2000" b="1" dirty="0">
              <a:latin typeface="Effra" panose="020B0603020203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latin typeface="Effra" panose="020B0603020203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91DB8D-4F30-4A40-83A0-98F2B6E9BD62}"/>
              </a:ext>
            </a:extLst>
          </p:cNvPr>
          <p:cNvSpPr txBox="1"/>
          <p:nvPr/>
        </p:nvSpPr>
        <p:spPr>
          <a:xfrm>
            <a:off x="3287398" y="4530208"/>
            <a:ext cx="33436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>
                <a:latin typeface="Effra" panose="020B0603020203020204" pitchFamily="34" charset="0"/>
              </a:defRPr>
            </a:lvl1pPr>
          </a:lstStyle>
          <a:p>
            <a:r>
              <a:rPr lang="en-US" dirty="0"/>
              <a:t>Final Report Sept ‘22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9827B55D-91E4-49CA-90BB-C3B76E2E642C}"/>
              </a:ext>
            </a:extLst>
          </p:cNvPr>
          <p:cNvSpPr txBox="1"/>
          <p:nvPr/>
        </p:nvSpPr>
        <p:spPr>
          <a:xfrm>
            <a:off x="158757" y="1202011"/>
            <a:ext cx="29044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latin typeface="Effra" panose="020B0603020203020204" pitchFamily="34" charset="0"/>
              </a:rPr>
              <a:t>What’s been don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u="sng" dirty="0">
              <a:latin typeface="Effra" panose="020B0603020203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C438EEBA-0D70-4365-A9D2-2716674A49EA}"/>
              </a:ext>
            </a:extLst>
          </p:cNvPr>
          <p:cNvSpPr txBox="1"/>
          <p:nvPr/>
        </p:nvSpPr>
        <p:spPr>
          <a:xfrm>
            <a:off x="3287398" y="1202011"/>
            <a:ext cx="35380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latin typeface="Effra" panose="020B0603020203020204" pitchFamily="34" charset="0"/>
              </a:rPr>
              <a:t>What still needs to be don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u="sng" dirty="0">
              <a:latin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5441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99" grpId="0"/>
      <p:bldP spid="100" grpId="0"/>
      <p:bldP spid="101" grpId="0"/>
      <p:bldP spid="19" grpId="0"/>
      <p:bldP spid="102" grpId="0"/>
      <p:bldP spid="10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17B4430-0E7A-4B38-B6CD-D14CEBE72E06}"/>
              </a:ext>
            </a:extLst>
          </p:cNvPr>
          <p:cNvSpPr/>
          <p:nvPr/>
        </p:nvSpPr>
        <p:spPr>
          <a:xfrm>
            <a:off x="193013" y="3060328"/>
            <a:ext cx="8174240" cy="3193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q"/>
            </a:pPr>
            <a:r>
              <a:rPr lang="en-US" b="1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al: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t elements of the </a:t>
            </a:r>
            <a:r>
              <a:rPr lang="en-US" dirty="0" err="1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fQ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oluntary Improvement Program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ified for manufacturers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se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lity system requires assistance in achieving or sustaining regulatory compliance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Identify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ive metrics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provide the agency oversight of product quality throughout the process.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q"/>
            </a:pPr>
            <a:r>
              <a:rPr lang="en-US" b="1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lot Purpose: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emic insight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improve the effectiveness of the quality system and to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lerate improvement efforts </a:t>
            </a:r>
            <a:r>
              <a:rPr lang="en-US" dirty="0">
                <a:latin typeface="Effra" panose="020B0603020203020204" pitchFamily="34" charset="0"/>
                <a:cs typeface="Times New Roman" panose="02020603050405020304" pitchFamily="18" charset="0"/>
              </a:rPr>
              <a:t>to reach and maintain compliance. 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q"/>
            </a:pPr>
            <a:r>
              <a:rPr lang="en-US" b="1" dirty="0">
                <a:latin typeface="Effra" panose="020B0603020203020204" pitchFamily="34" charset="0"/>
                <a:ea typeface="Calibri" panose="020F0502020204030204" pitchFamily="34" charset="0"/>
              </a:rPr>
              <a:t>Pilot Learnings: 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</a:rPr>
              <a:t>The pilot elements will continue to change based on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</a:rPr>
              <a:t>learning through the testing iterations</a:t>
            </a:r>
            <a:r>
              <a:rPr lang="en-US" dirty="0">
                <a:latin typeface="Effra" panose="020B0603020203020204" pitchFamily="34" charset="0"/>
                <a:ea typeface="Calibri" panose="020F0502020204030204" pitchFamily="34" charset="0"/>
              </a:rPr>
              <a:t>, therefore </a:t>
            </a:r>
            <a:r>
              <a:rPr lang="en-US" b="1" dirty="0">
                <a:solidFill>
                  <a:srgbClr val="0070C0"/>
                </a:solidFill>
                <a:latin typeface="Effra" panose="020B0603020203020204" pitchFamily="34" charset="0"/>
                <a:ea typeface="Calibri" panose="020F0502020204030204" pitchFamily="34" charset="0"/>
              </a:rPr>
              <a:t>details will not remain fixed.</a:t>
            </a:r>
            <a:endParaRPr lang="en-US" b="1" dirty="0">
              <a:solidFill>
                <a:srgbClr val="0070C0"/>
              </a:solidFill>
              <a:latin typeface="Effra" panose="020B0603020203020204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15D9A23-3B13-4E55-9E7B-5D14183D3562}"/>
              </a:ext>
            </a:extLst>
          </p:cNvPr>
          <p:cNvSpPr txBox="1">
            <a:spLocks/>
          </p:cNvSpPr>
          <p:nvPr/>
        </p:nvSpPr>
        <p:spPr>
          <a:xfrm>
            <a:off x="193012" y="211614"/>
            <a:ext cx="10515600" cy="535531"/>
          </a:xfrm>
          <a:prstGeom prst="rect">
            <a:avLst/>
          </a:prstGeom>
        </p:spPr>
        <p:txBody>
          <a:bodyPr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ilot Study Goals 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AAA567-5AF5-4BDC-8685-B4E7D58B321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148" t="65976" r="39760" b="20255"/>
          <a:stretch/>
        </p:blipFill>
        <p:spPr>
          <a:xfrm>
            <a:off x="10054162" y="142112"/>
            <a:ext cx="1944826" cy="8812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691B61-27C4-4006-A6CF-CE849BAF0547}"/>
              </a:ext>
            </a:extLst>
          </p:cNvPr>
          <p:cNvSpPr/>
          <p:nvPr/>
        </p:nvSpPr>
        <p:spPr>
          <a:xfrm>
            <a:off x="10373032" y="6567948"/>
            <a:ext cx="1189703" cy="2900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4331D8-9589-4D0C-804C-C357E115D858}"/>
              </a:ext>
            </a:extLst>
          </p:cNvPr>
          <p:cNvPicPr>
            <a:picLocks/>
          </p:cNvPicPr>
          <p:nvPr/>
        </p:nvPicPr>
        <p:blipFill rotWithShape="1"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33154"/>
            <a:ext cx="12192000" cy="13879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C43B17F-5334-4220-9EF5-9607951D2753}"/>
              </a:ext>
            </a:extLst>
          </p:cNvPr>
          <p:cNvSpPr>
            <a:spLocks/>
          </p:cNvSpPr>
          <p:nvPr/>
        </p:nvSpPr>
        <p:spPr>
          <a:xfrm>
            <a:off x="0" y="1233155"/>
            <a:ext cx="12192000" cy="1387979"/>
          </a:xfrm>
          <a:prstGeom prst="rect">
            <a:avLst/>
          </a:prstGeom>
          <a:solidFill>
            <a:srgbClr val="4472C4">
              <a:alpha val="79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776820-6915-4DD7-87D8-0C5051CC676A}"/>
              </a:ext>
            </a:extLst>
          </p:cNvPr>
          <p:cNvCxnSpPr>
            <a:cxnSpLocks/>
          </p:cNvCxnSpPr>
          <p:nvPr/>
        </p:nvCxnSpPr>
        <p:spPr>
          <a:xfrm>
            <a:off x="0" y="1233155"/>
            <a:ext cx="12192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AC5EA21-A812-405C-8F41-CC5A4A4F70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064" t="36702" r="62097" b="47527"/>
          <a:stretch/>
        </p:blipFill>
        <p:spPr>
          <a:xfrm>
            <a:off x="8917858" y="3260949"/>
            <a:ext cx="2876154" cy="22169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F071560-1989-4C50-8E69-3CAE6B596D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362" t="37062" r="66573" b="44874"/>
          <a:stretch/>
        </p:blipFill>
        <p:spPr>
          <a:xfrm>
            <a:off x="2549217" y="1131272"/>
            <a:ext cx="2901595" cy="163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629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0E8B1A-1AB5-45A9-A56A-1EA628FFB9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92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605" name="think-cell Slide" r:id="rId11" imgW="470" imgH="471" progId="TCLayout.ActiveDocument.1">
                  <p:embed/>
                </p:oleObj>
              </mc:Choice>
              <mc:Fallback>
                <p:oleObj name="think-cell Slide" r:id="rId11" imgW="470" imgH="47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0E8B1A-1AB5-45A9-A56A-1EA628FFB9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1B20F35-1519-4301-AA59-10B9F7751B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32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63631001-DDE8-4FF0-A280-DF5209F590A5}"/>
              </a:ext>
            </a:extLst>
          </p:cNvPr>
          <p:cNvPicPr>
            <a:picLocks/>
          </p:cNvPicPr>
          <p:nvPr/>
        </p:nvPicPr>
        <p:blipFill rotWithShape="1">
          <a:blip r:embed="rId13" cstate="hq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55"/>
          <a:stretch/>
        </p:blipFill>
        <p:spPr>
          <a:xfrm>
            <a:off x="6959599" y="1709788"/>
            <a:ext cx="5232401" cy="4464596"/>
          </a:xfrm>
          <a:prstGeom prst="rect">
            <a:avLst/>
          </a:prstGeom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3FCB2D6-7493-4EFD-A031-8C36C8EA7AA5}"/>
              </a:ext>
            </a:extLst>
          </p:cNvPr>
          <p:cNvCxnSpPr>
            <a:cxnSpLocks/>
          </p:cNvCxnSpPr>
          <p:nvPr/>
        </p:nvCxnSpPr>
        <p:spPr>
          <a:xfrm>
            <a:off x="6360733" y="1709788"/>
            <a:ext cx="0" cy="446459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95E7CC3E-81A1-4BCC-90A4-A5AA22696602}"/>
              </a:ext>
            </a:extLst>
          </p:cNvPr>
          <p:cNvSpPr>
            <a:spLocks/>
          </p:cNvSpPr>
          <p:nvPr/>
        </p:nvSpPr>
        <p:spPr>
          <a:xfrm>
            <a:off x="6135308" y="3604012"/>
            <a:ext cx="450850" cy="6761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EFE5F9-5BD2-4212-A35E-A0EB9C86A4A6}"/>
              </a:ext>
            </a:extLst>
          </p:cNvPr>
          <p:cNvSpPr>
            <a:spLocks/>
          </p:cNvSpPr>
          <p:nvPr/>
        </p:nvSpPr>
        <p:spPr>
          <a:xfrm>
            <a:off x="6959599" y="1709788"/>
            <a:ext cx="5232401" cy="4464596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"/>
            </a:pPr>
            <a:endParaRPr lang="en-US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5EBB6-98A0-4B37-AABE-41564C9268C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0" y="788427"/>
            <a:ext cx="10515600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/>
          <a:p>
            <a:pPr marL="502412"/>
            <a:r>
              <a:rPr lang="en-US" dirty="0">
                <a:latin typeface="Calibri Light" panose="020F0302020204030204" pitchFamily="34" charset="0"/>
              </a:rPr>
              <a:t>Required Pilot Elements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517D51D-C989-4BDD-AB07-A055716CD4E6}"/>
              </a:ext>
            </a:extLst>
          </p:cNvPr>
          <p:cNvCxnSpPr>
            <a:cxnSpLocks/>
          </p:cNvCxnSpPr>
          <p:nvPr/>
        </p:nvCxnSpPr>
        <p:spPr>
          <a:xfrm>
            <a:off x="0" y="138007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9F2D3E3-CC31-4884-8C66-46D0430CEA48}"/>
              </a:ext>
            </a:extLst>
          </p:cNvPr>
          <p:cNvSpPr txBox="1">
            <a:spLocks/>
          </p:cNvSpPr>
          <p:nvPr/>
        </p:nvSpPr>
        <p:spPr>
          <a:xfrm>
            <a:off x="7463943" y="2894908"/>
            <a:ext cx="4223712" cy="2094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marR="0" lvl="0" indent="0" algn="ctr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</a:t>
            </a:r>
            <a:r>
              <a:rPr lang="en-US" sz="2400" b="1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stemic improvement </a:t>
            </a:r>
            <a:r>
              <a:rPr lang="en-US" sz="2400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enable </a:t>
            </a:r>
            <a:r>
              <a:rPr lang="en-US" sz="2400" b="1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liance actions </a:t>
            </a:r>
            <a:r>
              <a:rPr lang="en-US" sz="2400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be </a:t>
            </a:r>
            <a:r>
              <a:rPr lang="en-US" sz="2400" b="1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osed faster </a:t>
            </a:r>
            <a:r>
              <a:rPr lang="en-US" sz="2400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more </a:t>
            </a:r>
            <a:r>
              <a:rPr lang="en-US" sz="2400" b="1" dirty="0">
                <a:solidFill>
                  <a:schemeClr val="bg1"/>
                </a:solidFill>
                <a:latin typeface="Effra" panose="020B06030202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y.</a:t>
            </a:r>
            <a:endParaRPr lang="en-US" sz="2400" b="1" dirty="0">
              <a:solidFill>
                <a:schemeClr val="bg1"/>
              </a:solidFill>
              <a:latin typeface="Effra" panose="020B0603020203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F7C0AF5-2275-4DDE-B36E-C46272866124}"/>
              </a:ext>
            </a:extLst>
          </p:cNvPr>
          <p:cNvSpPr txBox="1">
            <a:spLocks/>
          </p:cNvSpPr>
          <p:nvPr/>
        </p:nvSpPr>
        <p:spPr>
          <a:xfrm>
            <a:off x="1591453" y="1775351"/>
            <a:ext cx="4324309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marR="0" lvl="0" indent="0">
              <a:spcAft>
                <a:spcPts val="0"/>
              </a:spcAft>
              <a:buNone/>
            </a:pPr>
            <a:r>
              <a:rPr lang="en-US" sz="2000" dirty="0">
                <a:latin typeface="Effra" panose="020B0603020203020204" pitchFamily="34" charset="0"/>
              </a:rPr>
              <a:t>Application of the </a:t>
            </a:r>
            <a:r>
              <a:rPr lang="en-US" sz="2000" b="1" dirty="0">
                <a:solidFill>
                  <a:srgbClr val="0070C0"/>
                </a:solidFill>
                <a:latin typeface="Effra" panose="020B0603020203020204" pitchFamily="34" charset="0"/>
              </a:rPr>
              <a:t>CMMI assessment </a:t>
            </a:r>
            <a:r>
              <a:rPr lang="en-US" sz="2000" dirty="0">
                <a:latin typeface="Effra" panose="020B0603020203020204" pitchFamily="34" charset="0"/>
              </a:rPr>
              <a:t>approach and check-ins to drive both systemic and targeted improvem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5524F5-ED30-4B16-B94F-2F6B04D426AF}"/>
              </a:ext>
            </a:extLst>
          </p:cNvPr>
          <p:cNvSpPr txBox="1">
            <a:spLocks/>
          </p:cNvSpPr>
          <p:nvPr/>
        </p:nvSpPr>
        <p:spPr>
          <a:xfrm>
            <a:off x="1587518" y="3105781"/>
            <a:ext cx="3974523" cy="5539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indent="0">
              <a:buNone/>
            </a:pPr>
            <a:r>
              <a:rPr lang="en-US" sz="2000" dirty="0">
                <a:latin typeface="Effra" panose="020B0603020203020204" pitchFamily="34" charset="0"/>
              </a:rPr>
              <a:t>Identification of </a:t>
            </a:r>
            <a:r>
              <a:rPr lang="en-US" sz="2000" b="1" dirty="0">
                <a:solidFill>
                  <a:srgbClr val="0070C0"/>
                </a:solidFill>
                <a:latin typeface="Effra" panose="020B0603020203020204" pitchFamily="34" charset="0"/>
              </a:rPr>
              <a:t>objective metrics </a:t>
            </a:r>
            <a:r>
              <a:rPr lang="en-US" sz="2000" dirty="0">
                <a:latin typeface="Effra" panose="020B0603020203020204" pitchFamily="34" charset="0"/>
              </a:rPr>
              <a:t>for oversight of </a:t>
            </a:r>
            <a:r>
              <a:rPr lang="en-US" sz="2000" b="1" dirty="0">
                <a:latin typeface="Effra" panose="020B0603020203020204" pitchFamily="34" charset="0"/>
              </a:rPr>
              <a:t>product qual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4A8A26-2A8F-451F-8B87-21B0ED0B60BF}"/>
              </a:ext>
            </a:extLst>
          </p:cNvPr>
          <p:cNvSpPr txBox="1">
            <a:spLocks/>
          </p:cNvSpPr>
          <p:nvPr/>
        </p:nvSpPr>
        <p:spPr>
          <a:xfrm>
            <a:off x="1600411" y="4159212"/>
            <a:ext cx="4549736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indent="0">
              <a:buNone/>
            </a:pPr>
            <a:r>
              <a:rPr lang="en-US" sz="2000" dirty="0">
                <a:latin typeface="Effra" panose="020B0603020203020204" pitchFamily="34" charset="0"/>
              </a:rPr>
              <a:t>Application of </a:t>
            </a:r>
            <a:r>
              <a:rPr lang="en-US" sz="2000" b="1" dirty="0">
                <a:solidFill>
                  <a:srgbClr val="0070C0"/>
                </a:solidFill>
                <a:latin typeface="Effra" panose="020B0603020203020204" pitchFamily="34" charset="0"/>
              </a:rPr>
              <a:t>Residual Risk assessment </a:t>
            </a:r>
            <a:r>
              <a:rPr lang="en-US" sz="2000" dirty="0">
                <a:latin typeface="Effra" panose="020B0603020203020204" pitchFamily="34" charset="0"/>
              </a:rPr>
              <a:t>to </a:t>
            </a:r>
            <a:r>
              <a:rPr lang="en-US" sz="2000" b="1" dirty="0">
                <a:latin typeface="Effra" panose="020B0603020203020204" pitchFamily="34" charset="0"/>
              </a:rPr>
              <a:t>monitor to provide control of product risk</a:t>
            </a:r>
            <a:r>
              <a:rPr lang="en-US" sz="2000" dirty="0">
                <a:latin typeface="Effra" panose="020B0603020203020204" pitchFamily="34" charset="0"/>
              </a:rPr>
              <a:t> during the pilot.</a:t>
            </a:r>
            <a:endParaRPr lang="en-GB" sz="2000" dirty="0">
              <a:latin typeface="Effra" panose="020B0603020203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76BB5CE-0412-4541-8C11-8BAA4103FD8F}"/>
              </a:ext>
            </a:extLst>
          </p:cNvPr>
          <p:cNvSpPr txBox="1">
            <a:spLocks/>
          </p:cNvSpPr>
          <p:nvPr/>
        </p:nvSpPr>
        <p:spPr>
          <a:xfrm>
            <a:off x="1685357" y="5503779"/>
            <a:ext cx="4308652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 marL="0" indent="0">
              <a:buNone/>
            </a:pPr>
            <a:r>
              <a:rPr lang="en-GB" sz="2000" b="1" dirty="0">
                <a:solidFill>
                  <a:srgbClr val="0070C0"/>
                </a:solidFill>
                <a:latin typeface="Effra" panose="020B0603020203020204" pitchFamily="34" charset="0"/>
              </a:rPr>
              <a:t>Re-Inspection</a:t>
            </a:r>
            <a:r>
              <a:rPr lang="en-GB" sz="2000" dirty="0">
                <a:latin typeface="Effra" panose="020B0603020203020204" pitchFamily="34" charset="0"/>
              </a:rPr>
              <a:t> of site to confirm pilot activities have </a:t>
            </a:r>
            <a:r>
              <a:rPr lang="en-GB" sz="2000" b="1" dirty="0">
                <a:latin typeface="Effra" panose="020B0603020203020204" pitchFamily="34" charset="0"/>
              </a:rPr>
              <a:t>achieved resolution of compliance action</a:t>
            </a:r>
            <a:r>
              <a:rPr lang="en-GB" sz="2000" dirty="0">
                <a:latin typeface="Effra" panose="020B0603020203020204" pitchFamily="34" charset="0"/>
              </a:rPr>
              <a:t>.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8B312DB5-5AE2-45AB-8EDF-A7A404AD8ED6}"/>
              </a:ext>
            </a:extLst>
          </p:cNvPr>
          <p:cNvSpPr/>
          <p:nvPr/>
        </p:nvSpPr>
        <p:spPr>
          <a:xfrm>
            <a:off x="774537" y="1728920"/>
            <a:ext cx="728130" cy="72813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Effra" panose="020B0603020203020204" pitchFamily="34" charset="0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BAF743E6-AC0F-468C-A6E6-62D379AF3D90}"/>
              </a:ext>
            </a:extLst>
          </p:cNvPr>
          <p:cNvSpPr/>
          <p:nvPr/>
        </p:nvSpPr>
        <p:spPr>
          <a:xfrm>
            <a:off x="769014" y="2993387"/>
            <a:ext cx="728130" cy="72813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Effra" panose="020B0603020203020204" pitchFamily="34" charset="0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AEF47C99-8B55-4FFF-A6CC-92894EFFDF16}"/>
              </a:ext>
            </a:extLst>
          </p:cNvPr>
          <p:cNvSpPr/>
          <p:nvPr/>
        </p:nvSpPr>
        <p:spPr>
          <a:xfrm>
            <a:off x="799256" y="4131698"/>
            <a:ext cx="728130" cy="72813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Effra" panose="020B0603020203020204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5FE1517-C65F-4AED-933C-258D8BBF9A4A}"/>
              </a:ext>
            </a:extLst>
          </p:cNvPr>
          <p:cNvSpPr/>
          <p:nvPr/>
        </p:nvSpPr>
        <p:spPr>
          <a:xfrm>
            <a:off x="838200" y="5446254"/>
            <a:ext cx="728130" cy="72813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Effra" panose="020B0603020203020204" pitchFamily="34" charset="0"/>
            </a:endParaRPr>
          </a:p>
        </p:txBody>
      </p:sp>
      <p:grpSp>
        <p:nvGrpSpPr>
          <p:cNvPr id="74" name="DoubleChevron3 23">
            <a:extLst>
              <a:ext uri="{FF2B5EF4-FFF2-40B4-BE49-F238E27FC236}">
                <a16:creationId xmlns:a16="http://schemas.microsoft.com/office/drawing/2014/main" id="{B35BCE75-C204-491F-B90B-1DA7FF8BB853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6135308" y="3688086"/>
            <a:ext cx="450850" cy="508000"/>
            <a:chOff x="1270000" y="1270000"/>
            <a:chExt cx="450850" cy="508000"/>
          </a:xfrm>
        </p:grpSpPr>
        <p:sp>
          <p:nvSpPr>
            <p:cNvPr id="75" name="Chevron1">
              <a:extLst>
                <a:ext uri="{FF2B5EF4-FFF2-40B4-BE49-F238E27FC236}">
                  <a16:creationId xmlns:a16="http://schemas.microsoft.com/office/drawing/2014/main" id="{80012322-ADE3-424E-A8CF-2080D49EC5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6" name="Chevron2">
              <a:extLst>
                <a:ext uri="{FF2B5EF4-FFF2-40B4-BE49-F238E27FC236}">
                  <a16:creationId xmlns:a16="http://schemas.microsoft.com/office/drawing/2014/main" id="{91130339-086E-4095-ADE8-949D8263E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0" name="CustomIcon">
            <a:extLst>
              <a:ext uri="{FF2B5EF4-FFF2-40B4-BE49-F238E27FC236}">
                <a16:creationId xmlns:a16="http://schemas.microsoft.com/office/drawing/2014/main" id="{8C737F86-7587-4A22-9E1C-7DDA7DA0D2D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49664" y="1884802"/>
            <a:ext cx="416365" cy="416365"/>
          </a:xfrm>
          <a:prstGeom prst="rect">
            <a:avLst/>
          </a:prstGeom>
        </p:spPr>
      </p:pic>
      <p:pic>
        <p:nvPicPr>
          <p:cNvPr id="40" name="CustomIcon">
            <a:extLst>
              <a:ext uri="{FF2B5EF4-FFF2-40B4-BE49-F238E27FC236}">
                <a16:creationId xmlns:a16="http://schemas.microsoft.com/office/drawing/2014/main" id="{4920EA5E-1205-4DEA-B4EE-3AC6D4A64D7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24897" y="3139110"/>
            <a:ext cx="416365" cy="416365"/>
          </a:xfrm>
          <a:prstGeom prst="rect">
            <a:avLst/>
          </a:prstGeom>
        </p:spPr>
      </p:pic>
      <p:pic>
        <p:nvPicPr>
          <p:cNvPr id="79" name="CustomIcon">
            <a:extLst>
              <a:ext uri="{FF2B5EF4-FFF2-40B4-BE49-F238E27FC236}">
                <a16:creationId xmlns:a16="http://schemas.microsoft.com/office/drawing/2014/main" id="{51977AFC-AFBE-40D3-B061-018E6FFE280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5139" y="4277421"/>
            <a:ext cx="416365" cy="416365"/>
          </a:xfrm>
          <a:prstGeom prst="rect">
            <a:avLst/>
          </a:prstGeom>
        </p:spPr>
      </p:pic>
      <p:pic>
        <p:nvPicPr>
          <p:cNvPr id="81" name="CustomIcon">
            <a:extLst>
              <a:ext uri="{FF2B5EF4-FFF2-40B4-BE49-F238E27FC236}">
                <a16:creationId xmlns:a16="http://schemas.microsoft.com/office/drawing/2014/main" id="{DFEC7254-2D0F-493D-AE59-651493B63140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94083" y="5591977"/>
            <a:ext cx="416365" cy="41636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C31E56C-1965-4486-A9D5-D7BCF41B5F7C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43148" t="65976" r="39760" b="20255"/>
          <a:stretch/>
        </p:blipFill>
        <p:spPr>
          <a:xfrm>
            <a:off x="10054162" y="142112"/>
            <a:ext cx="1944826" cy="88127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4623140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310D17E-1224-44AA-AEAF-68C316B8B920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4900" y="1223736"/>
            <a:ext cx="6860270" cy="483490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89B88D0-DBF6-426B-9B0D-40694550A859}"/>
              </a:ext>
            </a:extLst>
          </p:cNvPr>
          <p:cNvSpPr>
            <a:spLocks/>
          </p:cNvSpPr>
          <p:nvPr/>
        </p:nvSpPr>
        <p:spPr>
          <a:xfrm>
            <a:off x="189550" y="1223736"/>
            <a:ext cx="6885620" cy="4849731"/>
          </a:xfrm>
          <a:prstGeom prst="rect">
            <a:avLst/>
          </a:prstGeom>
          <a:solidFill>
            <a:schemeClr val="accent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8F65E7-2595-4B0D-AE52-4E02D306FC2C}"/>
              </a:ext>
            </a:extLst>
          </p:cNvPr>
          <p:cNvSpPr txBox="1"/>
          <p:nvPr/>
        </p:nvSpPr>
        <p:spPr>
          <a:xfrm>
            <a:off x="1579418" y="1902193"/>
            <a:ext cx="35019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ffra" panose="020B0603020203020204" pitchFamily="34" charset="0"/>
                <a:ea typeface="+mn-ea"/>
                <a:cs typeface="+mn-cs"/>
              </a:rPr>
              <a:t>A few sites </a:t>
            </a: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ffra" panose="020B0603020203020204" pitchFamily="34" charset="0"/>
                <a:ea typeface="+mn-ea"/>
                <a:cs typeface="+mn-cs"/>
              </a:rPr>
              <a:t>are already interested in joining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ffra" panose="020B0603020203020204" pitchFamily="34" charset="0"/>
                <a:ea typeface="+mn-ea"/>
                <a:cs typeface="+mn-cs"/>
              </a:rPr>
              <a:t> the pilo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F45ECDD-5D09-4442-B0CD-294359B2D947}"/>
              </a:ext>
            </a:extLst>
          </p:cNvPr>
          <p:cNvSpPr txBox="1"/>
          <p:nvPr/>
        </p:nvSpPr>
        <p:spPr>
          <a:xfrm>
            <a:off x="7310363" y="4966049"/>
            <a:ext cx="453880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Effra" panose="020B0603020203020204" pitchFamily="34" charset="0"/>
              </a:rPr>
              <a:t>More Sites are needed!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Effra" panose="020B0603020203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C9F02CE-1913-4A7E-B7BF-293BC4727C33}"/>
              </a:ext>
            </a:extLst>
          </p:cNvPr>
          <p:cNvSpPr txBox="1">
            <a:spLocks/>
          </p:cNvSpPr>
          <p:nvPr/>
        </p:nvSpPr>
        <p:spPr bwMode="auto">
          <a:xfrm>
            <a:off x="131031" y="269178"/>
            <a:ext cx="115704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02412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prstClr val="black"/>
                </a:solidFill>
                <a:latin typeface="Calibri Light" panose="020F0302020204030204" pitchFamily="34" charset="0"/>
              </a:rPr>
              <a:t>Help Shape the Future, Join Us!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00262F2-AE5F-4A30-BF86-A8BDC1BD0C2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3409" t="17844" r="9925" b="51784"/>
          <a:stretch/>
        </p:blipFill>
        <p:spPr>
          <a:xfrm>
            <a:off x="7167416" y="1223735"/>
            <a:ext cx="4534033" cy="2904729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ECCB3A-93E2-4DD0-98A8-CC8F38679255}"/>
              </a:ext>
            </a:extLst>
          </p:cNvPr>
          <p:cNvSpPr txBox="1"/>
          <p:nvPr/>
        </p:nvSpPr>
        <p:spPr>
          <a:xfrm>
            <a:off x="189550" y="4568574"/>
            <a:ext cx="68555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ffra" panose="020B0603020203020204" pitchFamily="34" charset="0"/>
                <a:ea typeface="+mn-ea"/>
                <a:cs typeface="+mn-cs"/>
              </a:rPr>
              <a:t>If you would like to join, please contact both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ffra" panose="020B0603020203020204" pitchFamily="34" charset="0"/>
                <a:ea typeface="+mn-ea"/>
                <a:cs typeface="+mn-cs"/>
              </a:rPr>
              <a:t>MDIC Program Director: Alan Baumel - </a:t>
            </a:r>
            <a:r>
              <a:rPr lang="de-DE" sz="1600" b="1" dirty="0">
                <a:solidFill>
                  <a:schemeClr val="bg1"/>
                </a:solidFill>
                <a:latin typeface="Effra" panose="020B0603020203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aumel@mdic.org</a:t>
            </a:r>
            <a:r>
              <a:rPr lang="de-DE" sz="1600" b="1" dirty="0">
                <a:solidFill>
                  <a:schemeClr val="bg1"/>
                </a:solidFill>
                <a:latin typeface="Effra" panose="020B0603020203020204" pitchFamily="34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de-DE" sz="1600" b="1" dirty="0">
                <a:solidFill>
                  <a:schemeClr val="bg1"/>
                </a:solidFill>
                <a:latin typeface="Effra" panose="020B0603020203020204" pitchFamily="34" charset="0"/>
              </a:rPr>
              <a:t>N</a:t>
            </a:r>
            <a:r>
              <a:rPr lang="en-US" sz="1600" b="1" dirty="0">
                <a:solidFill>
                  <a:schemeClr val="bg1"/>
                </a:solidFill>
                <a:latin typeface="Effra" panose="020B0603020203020204" pitchFamily="34" charset="0"/>
              </a:rPr>
              <a:t>CS Program Chair: Kathryn Merrill - </a:t>
            </a:r>
            <a:r>
              <a:rPr lang="en-US" sz="1600" b="1" u="sng" dirty="0">
                <a:solidFill>
                  <a:schemeClr val="bg1"/>
                </a:solidFill>
                <a:latin typeface="Effra" panose="020B0603020203020204" pitchFamily="34" charset="0"/>
              </a:rPr>
              <a:t>kathryn.merrill@medtronic.com</a:t>
            </a:r>
            <a:endParaRPr kumimoji="0" lang="en-US" sz="16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ffra" panose="020B0603020203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2666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Evgeniya Makarova\Documents\!! 2017 MD Quality roundtable\RT Fall 2018\#MakeCAPAcool\Steering Committee Report Out_MakeCAPAcool v3.0 short.pptx"/>
  <p:tag name="MTBTACCENT" val="Accent3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1QlcLRR_ue5g5C2LREl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Eh.utQS2SJxpLA7hr2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Zk9cUJSKOzyBgf29HZL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ZafLhQJ29gHXvpNb5a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ABb2MVRcS3SDbpXzyc5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H17yaTgqG_pqOBKxwF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3F7sCbBsmRMGrab1avU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zN9TZtlftlLI2DPGwN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pz9f0LTN2CTsCODrR9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j0Rj0nQ3miXd4PXUUHc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1QlcLRR_ue5g5C2LREl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nEh.utQS2SJxpLA7hr2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ZafLhQJ29gHXvpNb5a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ABb2MVRcS3SDbpXzyc5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MH17yaTgqG_pqOBKxwF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bUxLs4Royo3nJiF8dcJ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bUxLs4Royo3nJiF8dcJ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WK44sNtOCQRDjHFvSKI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NG1o8hQc255YkfFKvTO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NG1o8hQc255YkfFKvTO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10.xml><?xml version="1.0" encoding="utf-8"?>
<a:theme xmlns:a="http://schemas.openxmlformats.org/drawingml/2006/main" name="6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4B204671-C227-4A4F-8EE5-84DEC50B1AB9}" vid="{A577ABEB-7875-4BFB-A24C-E864D0BA61ED}"/>
    </a:ext>
  </a:extLst>
</a:theme>
</file>

<file path=ppt/theme/theme11.xml><?xml version="1.0" encoding="utf-8"?>
<a:theme xmlns:a="http://schemas.openxmlformats.org/drawingml/2006/main" name="7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12.xml><?xml version="1.0" encoding="utf-8"?>
<a:theme xmlns:a="http://schemas.openxmlformats.org/drawingml/2006/main" name="8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13.xml><?xml version="1.0" encoding="utf-8"?>
<a:theme xmlns:a="http://schemas.openxmlformats.org/drawingml/2006/main" name="10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2F0CD6F7-917C-4598-BC0F-702DD582E203}" vid="{AA2BE14E-449C-452F-A3E9-066CA30FACC3}"/>
    </a:ext>
  </a:extLst>
</a:theme>
</file>

<file path=ppt/theme/theme14.xml><?xml version="1.0" encoding="utf-8"?>
<a:theme xmlns:a="http://schemas.openxmlformats.org/drawingml/2006/main" name="1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15.xml><?xml version="1.0" encoding="utf-8"?>
<a:theme xmlns:a="http://schemas.openxmlformats.org/drawingml/2006/main" name="12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6911770C-1E21-4D56-8A4F-9BF1555CC671}" vid="{721AB7A4-028F-4A2B-8296-1483CD569C47}"/>
    </a:ext>
  </a:extLst>
</a:theme>
</file>

<file path=ppt/theme/theme16.xml><?xml version="1.0" encoding="utf-8"?>
<a:theme xmlns:a="http://schemas.openxmlformats.org/drawingml/2006/main" name="13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17.xml><?xml version="1.0" encoding="utf-8"?>
<a:theme xmlns:a="http://schemas.openxmlformats.org/drawingml/2006/main" name="1_Firm Format - template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F27F00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E85BD650-D826-4F90-9AFD-83C0D210F41C}" vid="{F8F8C855-5522-4EBB-B801-868FC909F5AC}"/>
    </a:ext>
  </a:extLst>
</a:theme>
</file>

<file path=ppt/theme/theme18.xml><?xml version="1.0" encoding="utf-8"?>
<a:theme xmlns:a="http://schemas.openxmlformats.org/drawingml/2006/main" name="14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19.xml><?xml version="1.0" encoding="utf-8"?>
<a:theme xmlns:a="http://schemas.openxmlformats.org/drawingml/2006/main" name="16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2.xml><?xml version="1.0" encoding="utf-8"?>
<a:theme xmlns:a="http://schemas.openxmlformats.org/drawingml/2006/main" name="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MDIC theme">
  <a:themeElements>
    <a:clrScheme name="MDIC COLORS 2019">
      <a:dk1>
        <a:srgbClr val="000000"/>
      </a:dk1>
      <a:lt1>
        <a:srgbClr val="FFFFFF"/>
      </a:lt1>
      <a:dk2>
        <a:srgbClr val="707071"/>
      </a:dk2>
      <a:lt2>
        <a:srgbClr val="D0D0D0"/>
      </a:lt2>
      <a:accent1>
        <a:srgbClr val="003765"/>
      </a:accent1>
      <a:accent2>
        <a:srgbClr val="F3A260"/>
      </a:accent2>
      <a:accent3>
        <a:srgbClr val="D0D0D0"/>
      </a:accent3>
      <a:accent4>
        <a:srgbClr val="E8C369"/>
      </a:accent4>
      <a:accent5>
        <a:srgbClr val="73C0D3"/>
      </a:accent5>
      <a:accent6>
        <a:srgbClr val="005CA8"/>
      </a:accent6>
      <a:hlink>
        <a:srgbClr val="005CA8"/>
      </a:hlink>
      <a:folHlink>
        <a:srgbClr val="73C0D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7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2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3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5.xml><?xml version="1.0" encoding="utf-8"?>
<a:theme xmlns:a="http://schemas.openxmlformats.org/drawingml/2006/main" name="Firm Format - template">
  <a:themeElements>
    <a:clrScheme name="Custom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F27F00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E85BD650-D826-4F90-9AFD-83C0D210F41C}" vid="{F8F8C855-5522-4EBB-B801-868FC909F5AC}"/>
    </a:ext>
  </a:extLst>
</a:theme>
</file>

<file path=ppt/theme/theme6.xml><?xml version="1.0" encoding="utf-8"?>
<a:theme xmlns:a="http://schemas.openxmlformats.org/drawingml/2006/main" name="4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7.xml><?xml version="1.0" encoding="utf-8"?>
<a:theme xmlns:a="http://schemas.openxmlformats.org/drawingml/2006/main" name="5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BAAA8DA-AFC5-4F8A-BF34-733F303E9EE7}" vid="{C83A2FBA-1D83-4DE4-A7E3-439E0B148B18}"/>
    </a:ext>
  </a:extLst>
</a:theme>
</file>

<file path=ppt/theme/theme8.xml><?xml version="1.0" encoding="utf-8"?>
<a:theme xmlns:a="http://schemas.openxmlformats.org/drawingml/2006/main" name="1_Default Design">
  <a:themeElements>
    <a:clrScheme name="Custom 1">
      <a:dk1>
        <a:sysClr val="windowText" lastClr="000000"/>
      </a:dk1>
      <a:lt1>
        <a:sysClr val="window" lastClr="FFFFFF"/>
      </a:lt1>
      <a:dk2>
        <a:srgbClr val="75787B"/>
      </a:dk2>
      <a:lt2>
        <a:srgbClr val="75787B"/>
      </a:lt2>
      <a:accent1>
        <a:srgbClr val="4F2D7F"/>
      </a:accent1>
      <a:accent2>
        <a:srgbClr val="C8BEAF"/>
      </a:accent2>
      <a:accent3>
        <a:srgbClr val="00A7B5"/>
      </a:accent3>
      <a:accent4>
        <a:srgbClr val="FF7D1E"/>
      </a:accent4>
      <a:accent5>
        <a:srgbClr val="9BD732"/>
      </a:accent5>
      <a:accent6>
        <a:srgbClr val="E92841"/>
      </a:accent6>
      <a:hlink>
        <a:srgbClr val="000000"/>
      </a:hlink>
      <a:folHlink>
        <a:srgbClr val="000000"/>
      </a:folHlink>
    </a:clrScheme>
    <a:fontScheme name="Grant Thornton fonts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1F88B143-75BC-4CA1-8A8D-70DC266CEA0B}" vid="{A743B53F-F89B-4026-8C31-95428CA89A34}"/>
    </a:ext>
  </a:extLst>
</a:theme>
</file>

<file path=ppt/theme/theme9.xml><?xml version="1.0" encoding="utf-8"?>
<a:theme xmlns:a="http://schemas.openxmlformats.org/drawingml/2006/main" name="1_Title Divider">
  <a:themeElements>
    <a:clrScheme name="Medtronic Dark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 Font Theme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dt_ppt_adv_std_lt_160325" id="{E89A6647-A471-4463-9154-17F4AB89246E}" vid="{8EF21726-CC06-4B17-BB22-406177EF3AC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571</TotalTime>
  <Words>485</Words>
  <Application>Microsoft Office PowerPoint</Application>
  <PresentationFormat>Widescreen</PresentationFormat>
  <Paragraphs>57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47" baseType="lpstr">
      <vt:lpstr>Arial</vt:lpstr>
      <vt:lpstr>Arial Narrow</vt:lpstr>
      <vt:lpstr>Calibri</vt:lpstr>
      <vt:lpstr>Calibri Light</vt:lpstr>
      <vt:lpstr>Effra</vt:lpstr>
      <vt:lpstr>Effra Light</vt:lpstr>
      <vt:lpstr>Georgia</vt:lpstr>
      <vt:lpstr>Helvetic neue</vt:lpstr>
      <vt:lpstr>Helvetica Neue Light</vt:lpstr>
      <vt:lpstr>Helvetica Neue LT Std 45 Light</vt:lpstr>
      <vt:lpstr>Helvetica Neue LT Std 65 Medium</vt:lpstr>
      <vt:lpstr>Symbol</vt:lpstr>
      <vt:lpstr>Theinhardt Pan Light</vt:lpstr>
      <vt:lpstr>Times New Roman</vt:lpstr>
      <vt:lpstr>Wingdings</vt:lpstr>
      <vt:lpstr>Firm Format - template_Blue</vt:lpstr>
      <vt:lpstr>1_Firm Format - template_Blue</vt:lpstr>
      <vt:lpstr>2_Firm Format - template_Blue</vt:lpstr>
      <vt:lpstr>3_Firm Format - template_Blue</vt:lpstr>
      <vt:lpstr>Firm Format - template</vt:lpstr>
      <vt:lpstr>4_Firm Format - template_Blue</vt:lpstr>
      <vt:lpstr>5_Firm Format - template_Blue</vt:lpstr>
      <vt:lpstr>1_Default Design</vt:lpstr>
      <vt:lpstr>1_Title Divider</vt:lpstr>
      <vt:lpstr>6_Firm Format - template_Blue</vt:lpstr>
      <vt:lpstr>7_Firm Format - template_Blue</vt:lpstr>
      <vt:lpstr>8_Firm Format - template_Blue</vt:lpstr>
      <vt:lpstr>10_Firm Format - template_Blue</vt:lpstr>
      <vt:lpstr>11_Firm Format - template_Blue</vt:lpstr>
      <vt:lpstr>12_Firm Format - template_Blue</vt:lpstr>
      <vt:lpstr>13_Firm Format - template_Blue</vt:lpstr>
      <vt:lpstr>1_Firm Format - template</vt:lpstr>
      <vt:lpstr>14_Firm Format - template_Blue</vt:lpstr>
      <vt:lpstr>16_Firm Format - template_Blue</vt:lpstr>
      <vt:lpstr>Office Theme</vt:lpstr>
      <vt:lpstr>MDIC theme</vt:lpstr>
      <vt:lpstr>1_Office Theme</vt:lpstr>
      <vt:lpstr>17_Firm Format - template_Blue</vt:lpstr>
      <vt:lpstr>2_Office Theme</vt:lpstr>
      <vt:lpstr>think-cell Slide</vt:lpstr>
      <vt:lpstr>MDIC ‘Non-Compliant Site’ Pilot Study</vt:lpstr>
      <vt:lpstr>‘Non-Compliant Site’ Pilot Study</vt:lpstr>
      <vt:lpstr>PowerPoint Presentation</vt:lpstr>
      <vt:lpstr>PowerPoint Presentation</vt:lpstr>
      <vt:lpstr>PowerPoint Presentation</vt:lpstr>
      <vt:lpstr>Required Pilot Element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keywords>Medtronic Controlled</cp:keywords>
  <cp:lastModifiedBy>Merrill, Kathryn</cp:lastModifiedBy>
  <cp:revision>1576</cp:revision>
  <cp:lastPrinted>2020-03-04T21:34:37Z</cp:lastPrinted>
  <dcterms:created xsi:type="dcterms:W3CDTF">2017-11-02T19:01:17Z</dcterms:created>
  <dcterms:modified xsi:type="dcterms:W3CDTF">2020-03-09T21:3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b5f7920f-8c65-49ef-8fd9-8e24e6986ac2</vt:lpwstr>
  </property>
  <property fmtid="{D5CDD505-2E9C-101B-9397-08002B2CF9AE}" pid="3" name="Classification">
    <vt:lpwstr>MedtronicControlled</vt:lpwstr>
  </property>
</Properties>
</file>